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5764" r:id="rId6"/>
    <p:sldMasterId id="2147485766" r:id="rId7"/>
    <p:sldMasterId id="2147485771" r:id="rId8"/>
    <p:sldMasterId id="2147485716" r:id="rId9"/>
  </p:sldMasterIdLst>
  <p:notesMasterIdLst>
    <p:notesMasterId r:id="rId19"/>
  </p:notesMasterIdLst>
  <p:sldIdLst>
    <p:sldId id="282" r:id="rId10"/>
    <p:sldId id="496" r:id="rId11"/>
    <p:sldId id="503" r:id="rId12"/>
    <p:sldId id="499" r:id="rId13"/>
    <p:sldId id="497" r:id="rId14"/>
    <p:sldId id="500" r:id="rId15"/>
    <p:sldId id="498" r:id="rId16"/>
    <p:sldId id="501" r:id="rId17"/>
    <p:sldId id="502" r:id="rId18"/>
  </p:sldIdLst>
  <p:sldSz cx="12192000" cy="6858000"/>
  <p:notesSz cx="6858000" cy="9144000"/>
  <p:embeddedFontLst>
    <p:embeddedFont>
      <p:font typeface="Calibri" panose="020F0502020204030204" pitchFamily="34" charset="0"/>
      <p:regular r:id="rId20"/>
      <p:bold r:id="rId21"/>
      <p:italic r:id="rId22"/>
      <p:boldItalic r:id="rId23"/>
    </p:embeddedFont>
    <p:embeddedFont>
      <p:font typeface="Oswald" panose="00000500000000000000" pitchFamily="2" charset="0"/>
      <p:regular r:id="rId24"/>
      <p:bold r:id="rId25"/>
    </p:embeddedFont>
    <p:embeddedFont>
      <p:font typeface="Oswald Regular" panose="00000500000000000000" pitchFamily="2" charset="0"/>
      <p:regular r:id="rId26"/>
      <p:bold r:id="rId27"/>
      <p:italic r:id="rId28"/>
      <p:boldItalic r:id="rId29"/>
    </p:embeddedFont>
    <p:embeddedFont>
      <p:font typeface="Roboto" panose="02000000000000000000" pitchFamily="2" charset="0"/>
      <p:regular r:id="rId30"/>
      <p:bold r:id="rId31"/>
      <p:italic r:id="rId32"/>
      <p:boldItalic r:id="rId33"/>
    </p:embeddedFont>
    <p:embeddedFont>
      <p:font typeface="Roboto Condensed Light" panose="02000000000000000000" pitchFamily="2" charset="0"/>
      <p:regular r:id="rId34"/>
      <p:bold r:id="rId35"/>
      <p:italic r:id="rId36"/>
      <p:boldItalic r:id="rId37"/>
    </p:embeddedFont>
    <p:embeddedFont>
      <p:font typeface="Roboto Light" panose="02000000000000000000" pitchFamily="2" charset="0"/>
      <p:regular r:id="rId38"/>
      <p:italic r:id="rId39"/>
    </p:embeddedFont>
  </p:embeddedFontLst>
  <p:custDataLst>
    <p:tags r:id="rId40"/>
  </p:custDataLst>
  <p:defaultTextStyle>
    <a:defPPr>
      <a:defRPr lang="en-US"/>
    </a:defPPr>
    <a:lvl1pPr marL="0" algn="l" defTabSz="91430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52" algn="l" defTabSz="91430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02" algn="l" defTabSz="91430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54" algn="l" defTabSz="91430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05" algn="l" defTabSz="91430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56" algn="l" defTabSz="91430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08" algn="l" defTabSz="91430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60" algn="l" defTabSz="91430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210" algn="l" defTabSz="91430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52" userDrawn="1">
          <p15:clr>
            <a:srgbClr val="A4A3A4"/>
          </p15:clr>
        </p15:guide>
        <p15:guide id="2" pos="36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298AE27-7F17-50E6-BC38-F406E6D74CA1}" name="Lucie Hys" initials="LH" userId="S::lucie.hys@tpx.com::c1a46e7c-8931-4f14-a9db-dfb7cfa86e0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FC055"/>
    <a:srgbClr val="007AC3"/>
    <a:srgbClr val="54596A"/>
    <a:srgbClr val="595959"/>
    <a:srgbClr val="045E94"/>
    <a:srgbClr val="02A0DC"/>
    <a:srgbClr val="017AC3"/>
    <a:srgbClr val="2B8DC8"/>
    <a:srgbClr val="21C0D4"/>
    <a:srgbClr val="03A0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579B162-D658-B389-3F5C-3BD09584B0C4}" v="23" dt="2023-10-16T20:27:27.781"/>
    <p1510:client id="{C616B9C2-E550-493F-BCE5-E92D208F9BDD}" v="2" dt="2023-04-20T17:21:29.54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204"/>
    <p:restoredTop sz="95784"/>
  </p:normalViewPr>
  <p:slideViewPr>
    <p:cSldViewPr snapToGrid="0">
      <p:cViewPr varScale="1">
        <p:scale>
          <a:sx n="109" d="100"/>
          <a:sy n="109" d="100"/>
        </p:scale>
        <p:origin x="546" y="108"/>
      </p:cViewPr>
      <p:guideLst>
        <p:guide orient="horz" pos="1152"/>
        <p:guide pos="3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font" Target="fonts/font7.fntdata"/><Relationship Id="rId39" Type="http://schemas.openxmlformats.org/officeDocument/2006/relationships/font" Target="fonts/font20.fntdata"/><Relationship Id="rId21" Type="http://schemas.openxmlformats.org/officeDocument/2006/relationships/font" Target="fonts/font2.fntdata"/><Relationship Id="rId34" Type="http://schemas.openxmlformats.org/officeDocument/2006/relationships/font" Target="fonts/font15.fntdata"/><Relationship Id="rId42" Type="http://schemas.openxmlformats.org/officeDocument/2006/relationships/viewProps" Target="viewProps.xml"/><Relationship Id="rId47" Type="http://schemas.microsoft.com/office/2018/10/relationships/authors" Target="authors.xml"/><Relationship Id="rId7" Type="http://schemas.openxmlformats.org/officeDocument/2006/relationships/slideMaster" Target="slideMasters/slideMaster2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9" Type="http://schemas.openxmlformats.org/officeDocument/2006/relationships/font" Target="fonts/font10.fntdata"/><Relationship Id="rId20" Type="http://schemas.openxmlformats.org/officeDocument/2006/relationships/font" Target="fonts/font1.fntdata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2.xml"/><Relationship Id="rId24" Type="http://schemas.openxmlformats.org/officeDocument/2006/relationships/font" Target="fonts/font5.fntdata"/><Relationship Id="rId32" Type="http://schemas.openxmlformats.org/officeDocument/2006/relationships/font" Target="fonts/font13.fntdata"/><Relationship Id="rId37" Type="http://schemas.openxmlformats.org/officeDocument/2006/relationships/font" Target="fonts/font18.fntdata"/><Relationship Id="rId40" Type="http://schemas.openxmlformats.org/officeDocument/2006/relationships/tags" Target="tags/tag1.xml"/><Relationship Id="rId45" Type="http://schemas.microsoft.com/office/2016/11/relationships/changesInfo" Target="changesInfos/changesInfo1.xml"/><Relationship Id="rId5" Type="http://schemas.openxmlformats.org/officeDocument/2006/relationships/customXml" Target="../customXml/item5.xml"/><Relationship Id="rId15" Type="http://schemas.openxmlformats.org/officeDocument/2006/relationships/slide" Target="slides/slide6.xml"/><Relationship Id="rId23" Type="http://schemas.openxmlformats.org/officeDocument/2006/relationships/font" Target="fonts/font4.fntdata"/><Relationship Id="rId28" Type="http://schemas.openxmlformats.org/officeDocument/2006/relationships/font" Target="fonts/font9.fntdata"/><Relationship Id="rId36" Type="http://schemas.openxmlformats.org/officeDocument/2006/relationships/font" Target="fonts/font17.fntdata"/><Relationship Id="rId10" Type="http://schemas.openxmlformats.org/officeDocument/2006/relationships/slide" Target="slides/slide1.xml"/><Relationship Id="rId19" Type="http://schemas.openxmlformats.org/officeDocument/2006/relationships/notesMaster" Target="notesMasters/notesMaster1.xml"/><Relationship Id="rId31" Type="http://schemas.openxmlformats.org/officeDocument/2006/relationships/font" Target="fonts/font12.fntdata"/><Relationship Id="rId44" Type="http://schemas.openxmlformats.org/officeDocument/2006/relationships/tableStyles" Target="tableStyles.xml"/><Relationship Id="rId43" Type="http://schemas.openxmlformats.org/officeDocument/2006/relationships/theme" Target="theme/theme1.xml"/><Relationship Id="rId9" Type="http://schemas.openxmlformats.org/officeDocument/2006/relationships/slideMaster" Target="slideMasters/slideMaster4.xml"/><Relationship Id="rId14" Type="http://schemas.openxmlformats.org/officeDocument/2006/relationships/slide" Target="slides/slide5.xml"/><Relationship Id="rId22" Type="http://schemas.openxmlformats.org/officeDocument/2006/relationships/font" Target="fonts/font3.fntdata"/><Relationship Id="rId27" Type="http://schemas.openxmlformats.org/officeDocument/2006/relationships/font" Target="fonts/font8.fntdata"/><Relationship Id="rId30" Type="http://schemas.openxmlformats.org/officeDocument/2006/relationships/font" Target="fonts/font11.fntdata"/><Relationship Id="rId35" Type="http://schemas.openxmlformats.org/officeDocument/2006/relationships/font" Target="fonts/font16.fntdata"/><Relationship Id="rId8" Type="http://schemas.openxmlformats.org/officeDocument/2006/relationships/slideMaster" Target="slideMasters/slideMaster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font" Target="fonts/font6.fntdata"/><Relationship Id="rId33" Type="http://schemas.openxmlformats.org/officeDocument/2006/relationships/font" Target="fonts/font14.fntdata"/><Relationship Id="rId38" Type="http://schemas.openxmlformats.org/officeDocument/2006/relationships/font" Target="fonts/font19.fntdata"/><Relationship Id="rId46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ucie Hys" userId="c1a46e7c-8931-4f14-a9db-dfb7cfa86e06" providerId="ADAL" clId="{C616B9C2-E550-493F-BCE5-E92D208F9BDD}"/>
    <pc:docChg chg="custSel addSld delSld modSld">
      <pc:chgData name="Lucie Hys" userId="c1a46e7c-8931-4f14-a9db-dfb7cfa86e06" providerId="ADAL" clId="{C616B9C2-E550-493F-BCE5-E92D208F9BDD}" dt="2023-04-20T17:21:47.968" v="8" actId="47"/>
      <pc:docMkLst>
        <pc:docMk/>
      </pc:docMkLst>
      <pc:sldChg chg="modSp del mod">
        <pc:chgData name="Lucie Hys" userId="c1a46e7c-8931-4f14-a9db-dfb7cfa86e06" providerId="ADAL" clId="{C616B9C2-E550-493F-BCE5-E92D208F9BDD}" dt="2023-04-20T17:20:29.708" v="2" actId="47"/>
        <pc:sldMkLst>
          <pc:docMk/>
          <pc:sldMk cId="1740150252" sldId="317"/>
        </pc:sldMkLst>
        <pc:spChg chg="mod">
          <ac:chgData name="Lucie Hys" userId="c1a46e7c-8931-4f14-a9db-dfb7cfa86e06" providerId="ADAL" clId="{C616B9C2-E550-493F-BCE5-E92D208F9BDD}" dt="2023-04-20T17:20:25.795" v="1" actId="27636"/>
          <ac:spMkLst>
            <pc:docMk/>
            <pc:sldMk cId="1740150252" sldId="317"/>
            <ac:spMk id="17" creationId="{F6E726DD-3817-CDA7-FAA9-A251720B1314}"/>
          </ac:spMkLst>
        </pc:spChg>
      </pc:sldChg>
      <pc:sldChg chg="modSp add mod">
        <pc:chgData name="Lucie Hys" userId="c1a46e7c-8931-4f14-a9db-dfb7cfa86e06" providerId="ADAL" clId="{C616B9C2-E550-493F-BCE5-E92D208F9BDD}" dt="2023-04-20T17:20:35.345" v="6" actId="20577"/>
        <pc:sldMkLst>
          <pc:docMk/>
          <pc:sldMk cId="3875334419" sldId="503"/>
        </pc:sldMkLst>
        <pc:spChg chg="mod">
          <ac:chgData name="Lucie Hys" userId="c1a46e7c-8931-4f14-a9db-dfb7cfa86e06" providerId="ADAL" clId="{C616B9C2-E550-493F-BCE5-E92D208F9BDD}" dt="2023-04-20T17:20:35.345" v="6" actId="20577"/>
          <ac:spMkLst>
            <pc:docMk/>
            <pc:sldMk cId="3875334419" sldId="503"/>
            <ac:spMk id="18" creationId="{40085009-ED5F-3C1A-109F-0AF1EF750869}"/>
          </ac:spMkLst>
        </pc:spChg>
      </pc:sldChg>
      <pc:sldChg chg="add del">
        <pc:chgData name="Lucie Hys" userId="c1a46e7c-8931-4f14-a9db-dfb7cfa86e06" providerId="ADAL" clId="{C616B9C2-E550-493F-BCE5-E92D208F9BDD}" dt="2023-04-20T17:21:47.968" v="8" actId="47"/>
        <pc:sldMkLst>
          <pc:docMk/>
          <pc:sldMk cId="2512741251" sldId="504"/>
        </pc:sldMkLst>
      </pc:sldChg>
    </pc:docChg>
  </pc:docChgLst>
  <pc:docChgLst>
    <pc:chgData name="Lucie Hys" userId="S::lucie.hys@tpx.com::c1a46e7c-8931-4f14-a9db-dfb7cfa86e06" providerId="AD" clId="Web-{5579B162-D658-B389-3F5C-3BD09584B0C4}"/>
    <pc:docChg chg="modSld">
      <pc:chgData name="Lucie Hys" userId="S::lucie.hys@tpx.com::c1a46e7c-8931-4f14-a9db-dfb7cfa86e06" providerId="AD" clId="Web-{5579B162-D658-B389-3F5C-3BD09584B0C4}" dt="2023-10-16T20:27:27.781" v="21" actId="14100"/>
      <pc:docMkLst>
        <pc:docMk/>
      </pc:docMkLst>
      <pc:sldChg chg="modSp">
        <pc:chgData name="Lucie Hys" userId="S::lucie.hys@tpx.com::c1a46e7c-8931-4f14-a9db-dfb7cfa86e06" providerId="AD" clId="Web-{5579B162-D658-B389-3F5C-3BD09584B0C4}" dt="2023-10-16T20:26:39.762" v="6" actId="20577"/>
        <pc:sldMkLst>
          <pc:docMk/>
          <pc:sldMk cId="3029698013" sldId="282"/>
        </pc:sldMkLst>
        <pc:spChg chg="mod">
          <ac:chgData name="Lucie Hys" userId="S::lucie.hys@tpx.com::c1a46e7c-8931-4f14-a9db-dfb7cfa86e06" providerId="AD" clId="Web-{5579B162-D658-B389-3F5C-3BD09584B0C4}" dt="2023-10-16T20:26:39.762" v="6" actId="20577"/>
          <ac:spMkLst>
            <pc:docMk/>
            <pc:sldMk cId="3029698013" sldId="282"/>
            <ac:spMk id="2" creationId="{7DCF74C4-89B7-BBC7-AD26-BCF1162E8918}"/>
          </ac:spMkLst>
        </pc:spChg>
      </pc:sldChg>
      <pc:sldChg chg="modSp">
        <pc:chgData name="Lucie Hys" userId="S::lucie.hys@tpx.com::c1a46e7c-8931-4f14-a9db-dfb7cfa86e06" providerId="AD" clId="Web-{5579B162-D658-B389-3F5C-3BD09584B0C4}" dt="2023-10-16T20:26:47.919" v="10" actId="20577"/>
        <pc:sldMkLst>
          <pc:docMk/>
          <pc:sldMk cId="3160447126" sldId="496"/>
        </pc:sldMkLst>
        <pc:spChg chg="mod">
          <ac:chgData name="Lucie Hys" userId="S::lucie.hys@tpx.com::c1a46e7c-8931-4f14-a9db-dfb7cfa86e06" providerId="AD" clId="Web-{5579B162-D658-B389-3F5C-3BD09584B0C4}" dt="2023-10-16T20:26:47.919" v="10" actId="20577"/>
          <ac:spMkLst>
            <pc:docMk/>
            <pc:sldMk cId="3160447126" sldId="496"/>
            <ac:spMk id="34" creationId="{635384CE-BEFC-B6BF-419B-13AC85967208}"/>
          </ac:spMkLst>
        </pc:spChg>
      </pc:sldChg>
      <pc:sldChg chg="modSp">
        <pc:chgData name="Lucie Hys" userId="S::lucie.hys@tpx.com::c1a46e7c-8931-4f14-a9db-dfb7cfa86e06" providerId="AD" clId="Web-{5579B162-D658-B389-3F5C-3BD09584B0C4}" dt="2023-10-16T20:27:17.452" v="16" actId="20577"/>
        <pc:sldMkLst>
          <pc:docMk/>
          <pc:sldMk cId="435709122" sldId="497"/>
        </pc:sldMkLst>
        <pc:spChg chg="mod">
          <ac:chgData name="Lucie Hys" userId="S::lucie.hys@tpx.com::c1a46e7c-8931-4f14-a9db-dfb7cfa86e06" providerId="AD" clId="Web-{5579B162-D658-B389-3F5C-3BD09584B0C4}" dt="2023-10-16T20:27:08.795" v="14" actId="20577"/>
          <ac:spMkLst>
            <pc:docMk/>
            <pc:sldMk cId="435709122" sldId="497"/>
            <ac:spMk id="6" creationId="{3EC4F8DD-C115-3941-9E3C-E485A68333B9}"/>
          </ac:spMkLst>
        </pc:spChg>
        <pc:spChg chg="mod">
          <ac:chgData name="Lucie Hys" userId="S::lucie.hys@tpx.com::c1a46e7c-8931-4f14-a9db-dfb7cfa86e06" providerId="AD" clId="Web-{5579B162-D658-B389-3F5C-3BD09584B0C4}" dt="2023-10-16T20:27:17.452" v="16" actId="20577"/>
          <ac:spMkLst>
            <pc:docMk/>
            <pc:sldMk cId="435709122" sldId="497"/>
            <ac:spMk id="14" creationId="{DDE1CD41-C8D2-2D4C-9381-F7219AD7388F}"/>
          </ac:spMkLst>
        </pc:spChg>
      </pc:sldChg>
      <pc:sldChg chg="modSp">
        <pc:chgData name="Lucie Hys" userId="S::lucie.hys@tpx.com::c1a46e7c-8931-4f14-a9db-dfb7cfa86e06" providerId="AD" clId="Web-{5579B162-D658-B389-3F5C-3BD09584B0C4}" dt="2023-10-16T20:27:27.781" v="21" actId="14100"/>
        <pc:sldMkLst>
          <pc:docMk/>
          <pc:sldMk cId="2203381151" sldId="500"/>
        </pc:sldMkLst>
        <pc:spChg chg="mod">
          <ac:chgData name="Lucie Hys" userId="S::lucie.hys@tpx.com::c1a46e7c-8931-4f14-a9db-dfb7cfa86e06" providerId="AD" clId="Web-{5579B162-D658-B389-3F5C-3BD09584B0C4}" dt="2023-10-16T20:27:27.781" v="21" actId="14100"/>
          <ac:spMkLst>
            <pc:docMk/>
            <pc:sldMk cId="2203381151" sldId="500"/>
            <ac:spMk id="3" creationId="{00000000-0000-0000-0000-000000000000}"/>
          </ac:spMkLst>
        </pc:spChg>
      </pc:sldChg>
      <pc:sldChg chg="modSp">
        <pc:chgData name="Lucie Hys" userId="S::lucie.hys@tpx.com::c1a46e7c-8931-4f14-a9db-dfb7cfa86e06" providerId="AD" clId="Web-{5579B162-D658-B389-3F5C-3BD09584B0C4}" dt="2023-10-16T20:27:00.326" v="13" actId="20577"/>
        <pc:sldMkLst>
          <pc:docMk/>
          <pc:sldMk cId="3875334419" sldId="503"/>
        </pc:sldMkLst>
        <pc:spChg chg="mod">
          <ac:chgData name="Lucie Hys" userId="S::lucie.hys@tpx.com::c1a46e7c-8931-4f14-a9db-dfb7cfa86e06" providerId="AD" clId="Web-{5579B162-D658-B389-3F5C-3BD09584B0C4}" dt="2023-10-16T20:27:00.326" v="13" actId="20577"/>
          <ac:spMkLst>
            <pc:docMk/>
            <pc:sldMk cId="3875334419" sldId="503"/>
            <ac:spMk id="3" creationId="{00000000-0000-0000-0000-000000000000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D5221A-7E7B-435B-8CA8-22B91C1C819C}" type="datetimeFigureOut">
              <a:rPr lang="en-US" smtClean="0"/>
              <a:t>10/16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455F90-0415-458F-8E5F-559183BAA8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63095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0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52" algn="l" defTabSz="91430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02" algn="l" defTabSz="91430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54" algn="l" defTabSz="91430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05" algn="l" defTabSz="91430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56" algn="l" defTabSz="91430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08" algn="l" defTabSz="91430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60" algn="l" defTabSz="91430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10" algn="l" defTabSz="91430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4A9537-3BFA-894C-8BED-8ADA45B4229D}" type="slidenum">
              <a:rPr lang="en-US">
                <a:solidFill>
                  <a:prstClr val="black"/>
                </a:solidFill>
              </a:rPr>
              <a:pPr/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02038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4A9537-3BFA-894C-8BED-8ADA45B4229D}" type="slidenum">
              <a:rPr lang="en-US">
                <a:solidFill>
                  <a:prstClr val="black"/>
                </a:solidFill>
              </a:rPr>
              <a:pPr/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00617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4A9537-3BFA-894C-8BED-8ADA45B4229D}" type="slidenum">
              <a:rPr lang="en-US">
                <a:solidFill>
                  <a:prstClr val="black"/>
                </a:solidFill>
              </a:rPr>
              <a:pPr/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7019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4A9537-3BFA-894C-8BED-8ADA45B4229D}" type="slidenum">
              <a:rPr lang="en-US">
                <a:solidFill>
                  <a:prstClr val="black"/>
                </a:solidFill>
              </a:rPr>
              <a:pPr/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15232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algn="r"/>
            <a:r>
              <a:rPr lang="en-US" sz="1000">
                <a:solidFill>
                  <a:srgbClr val="DC291E"/>
                </a:solidFill>
                <a:sym typeface="Wingdings 3" panose="05040102010807070707" pitchFamily="18" charset="2"/>
              </a:rPr>
              <a:t></a:t>
            </a:r>
            <a:r>
              <a:rPr lang="en-US" sz="1000">
                <a:solidFill>
                  <a:schemeClr val="accent1"/>
                </a:solidFill>
                <a:sym typeface="Wingdings 3" panose="05040102010807070707" pitchFamily="18" charset="2"/>
              </a:rPr>
              <a:t> </a:t>
            </a:r>
            <a:r>
              <a:rPr lang="en-US" sz="1000">
                <a:cs typeface="Arial" pitchFamily="34" charset="0"/>
              </a:rPr>
              <a:t>Routing</a:t>
            </a:r>
            <a:endParaRPr lang="en-US" sz="100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75115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algn="r"/>
            <a:r>
              <a:rPr lang="en-US" sz="1000">
                <a:solidFill>
                  <a:srgbClr val="DC291E"/>
                </a:solidFill>
                <a:sym typeface="Wingdings 3" panose="05040102010807070707" pitchFamily="18" charset="2"/>
              </a:rPr>
              <a:t></a:t>
            </a:r>
            <a:r>
              <a:rPr lang="en-US" sz="1000">
                <a:solidFill>
                  <a:schemeClr val="accent1"/>
                </a:solidFill>
                <a:sym typeface="Wingdings 3" panose="05040102010807070707" pitchFamily="18" charset="2"/>
              </a:rPr>
              <a:t> </a:t>
            </a:r>
            <a:r>
              <a:rPr lang="en-US" sz="1000">
                <a:cs typeface="Arial" pitchFamily="34" charset="0"/>
              </a:rPr>
              <a:t>Routing</a:t>
            </a:r>
            <a:endParaRPr lang="en-US" sz="100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05891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algn="r"/>
            <a:r>
              <a:rPr lang="en-US" sz="1000">
                <a:solidFill>
                  <a:srgbClr val="DC291E"/>
                </a:solidFill>
                <a:sym typeface="Wingdings 3" panose="05040102010807070707" pitchFamily="18" charset="2"/>
              </a:rPr>
              <a:t></a:t>
            </a:r>
            <a:r>
              <a:rPr lang="en-US" sz="1000">
                <a:solidFill>
                  <a:schemeClr val="accent1"/>
                </a:solidFill>
                <a:sym typeface="Wingdings 3" panose="05040102010807070707" pitchFamily="18" charset="2"/>
              </a:rPr>
              <a:t> </a:t>
            </a:r>
            <a:r>
              <a:rPr lang="en-US" sz="1000">
                <a:cs typeface="Arial" pitchFamily="34" charset="0"/>
              </a:rPr>
              <a:t>Routing</a:t>
            </a:r>
            <a:endParaRPr lang="en-US" sz="100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11626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6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7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8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9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0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6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7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8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9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0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6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7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8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9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0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5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5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5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5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5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E9E3BC-84C4-453A-BFBE-C44B096313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1449" y="2640652"/>
            <a:ext cx="7590551" cy="1107440"/>
          </a:xfrm>
        </p:spPr>
        <p:txBody>
          <a:bodyPr anchor="b"/>
          <a:lstStyle>
            <a:lvl1pPr marL="91440">
              <a:defRPr sz="4889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2487E151-DB54-E337-F1D2-4373EBFEE1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0038" y="1838794"/>
            <a:ext cx="2075676" cy="795676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A286A1C8-E01B-D593-3A9D-1507714E9E9F}"/>
              </a:ext>
            </a:extLst>
          </p:cNvPr>
          <p:cNvGrpSpPr/>
          <p:nvPr userDrawn="1"/>
        </p:nvGrpSpPr>
        <p:grpSpPr>
          <a:xfrm>
            <a:off x="-2421431" y="-1526286"/>
            <a:ext cx="8517431" cy="9722323"/>
            <a:chOff x="-4358576" y="-2747315"/>
            <a:chExt cx="15331376" cy="17500182"/>
          </a:xfrm>
        </p:grpSpPr>
        <p:sp>
          <p:nvSpPr>
            <p:cNvPr id="12" name="Right Triangle 11">
              <a:extLst>
                <a:ext uri="{FF2B5EF4-FFF2-40B4-BE49-F238E27FC236}">
                  <a16:creationId xmlns:a16="http://schemas.microsoft.com/office/drawing/2014/main" id="{5B859243-D91C-C69C-7C59-96B7AF36802D}"/>
                </a:ext>
              </a:extLst>
            </p:cNvPr>
            <p:cNvSpPr/>
            <p:nvPr userDrawn="1"/>
          </p:nvSpPr>
          <p:spPr>
            <a:xfrm>
              <a:off x="0" y="0"/>
              <a:ext cx="10972800" cy="12344400"/>
            </a:xfrm>
            <a:prstGeom prst="rtTriangle">
              <a:avLst/>
            </a:prstGeom>
            <a:solidFill>
              <a:srgbClr val="007A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  <p:sp>
          <p:nvSpPr>
            <p:cNvPr id="13" name="Right Triangle 12">
              <a:extLst>
                <a:ext uri="{FF2B5EF4-FFF2-40B4-BE49-F238E27FC236}">
                  <a16:creationId xmlns:a16="http://schemas.microsoft.com/office/drawing/2014/main" id="{61819916-F4F5-413C-1547-88C0581C5550}"/>
                </a:ext>
              </a:extLst>
            </p:cNvPr>
            <p:cNvSpPr/>
            <p:nvPr userDrawn="1"/>
          </p:nvSpPr>
          <p:spPr>
            <a:xfrm flipV="1">
              <a:off x="0" y="0"/>
              <a:ext cx="10801884" cy="12344400"/>
            </a:xfrm>
            <a:prstGeom prst="rtTriangle">
              <a:avLst/>
            </a:prstGeom>
            <a:solidFill>
              <a:srgbClr val="007A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  <p:sp>
          <p:nvSpPr>
            <p:cNvPr id="4" name="Right Triangle 3">
              <a:extLst>
                <a:ext uri="{FF2B5EF4-FFF2-40B4-BE49-F238E27FC236}">
                  <a16:creationId xmlns:a16="http://schemas.microsoft.com/office/drawing/2014/main" id="{1C9F753C-1C13-2C5B-652F-8AC756B49A53}"/>
                </a:ext>
              </a:extLst>
            </p:cNvPr>
            <p:cNvSpPr/>
            <p:nvPr userDrawn="1"/>
          </p:nvSpPr>
          <p:spPr>
            <a:xfrm rot="13487843">
              <a:off x="-4358576" y="1794390"/>
              <a:ext cx="8703081" cy="8755621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  <p:sp>
          <p:nvSpPr>
            <p:cNvPr id="14" name="Parallelogram 13">
              <a:extLst>
                <a:ext uri="{FF2B5EF4-FFF2-40B4-BE49-F238E27FC236}">
                  <a16:creationId xmlns:a16="http://schemas.microsoft.com/office/drawing/2014/main" id="{71BF2B95-4D31-7B32-6A93-0373476AE4F0}"/>
                </a:ext>
              </a:extLst>
            </p:cNvPr>
            <p:cNvSpPr/>
            <p:nvPr userDrawn="1"/>
          </p:nvSpPr>
          <p:spPr>
            <a:xfrm rot="2075180">
              <a:off x="2960618" y="2836523"/>
              <a:ext cx="4770319" cy="11916344"/>
            </a:xfrm>
            <a:custGeom>
              <a:avLst/>
              <a:gdLst>
                <a:gd name="connsiteX0" fmla="*/ 0 w 5173579"/>
                <a:gd name="connsiteY0" fmla="*/ 9649326 h 9649326"/>
                <a:gd name="connsiteX1" fmla="*/ 1293395 w 5173579"/>
                <a:gd name="connsiteY1" fmla="*/ 0 h 9649326"/>
                <a:gd name="connsiteX2" fmla="*/ 5173579 w 5173579"/>
                <a:gd name="connsiteY2" fmla="*/ 0 h 9649326"/>
                <a:gd name="connsiteX3" fmla="*/ 3880184 w 5173579"/>
                <a:gd name="connsiteY3" fmla="*/ 9649326 h 9649326"/>
                <a:gd name="connsiteX4" fmla="*/ 0 w 5173579"/>
                <a:gd name="connsiteY4" fmla="*/ 9649326 h 9649326"/>
                <a:gd name="connsiteX0" fmla="*/ 0 w 5173579"/>
                <a:gd name="connsiteY0" fmla="*/ 9654120 h 9654120"/>
                <a:gd name="connsiteX1" fmla="*/ 1173174 w 5173579"/>
                <a:gd name="connsiteY1" fmla="*/ 0 h 9654120"/>
                <a:gd name="connsiteX2" fmla="*/ 5173579 w 5173579"/>
                <a:gd name="connsiteY2" fmla="*/ 4794 h 9654120"/>
                <a:gd name="connsiteX3" fmla="*/ 3880184 w 5173579"/>
                <a:gd name="connsiteY3" fmla="*/ 9654120 h 9654120"/>
                <a:gd name="connsiteX4" fmla="*/ 0 w 5173579"/>
                <a:gd name="connsiteY4" fmla="*/ 9654120 h 9654120"/>
                <a:gd name="connsiteX0" fmla="*/ 0 w 5173579"/>
                <a:gd name="connsiteY0" fmla="*/ 9654120 h 9654120"/>
                <a:gd name="connsiteX1" fmla="*/ 1173174 w 5173579"/>
                <a:gd name="connsiteY1" fmla="*/ 0 h 9654120"/>
                <a:gd name="connsiteX2" fmla="*/ 5173579 w 5173579"/>
                <a:gd name="connsiteY2" fmla="*/ 4794 h 9654120"/>
                <a:gd name="connsiteX3" fmla="*/ 4282810 w 5173579"/>
                <a:gd name="connsiteY3" fmla="*/ 6804383 h 9654120"/>
                <a:gd name="connsiteX4" fmla="*/ 0 w 5173579"/>
                <a:gd name="connsiteY4" fmla="*/ 9654120 h 9654120"/>
                <a:gd name="connsiteX0" fmla="*/ 0 w 5173579"/>
                <a:gd name="connsiteY0" fmla="*/ 9654120 h 9654120"/>
                <a:gd name="connsiteX1" fmla="*/ 1173174 w 5173579"/>
                <a:gd name="connsiteY1" fmla="*/ 0 h 9654120"/>
                <a:gd name="connsiteX2" fmla="*/ 5173579 w 5173579"/>
                <a:gd name="connsiteY2" fmla="*/ 4794 h 9654120"/>
                <a:gd name="connsiteX3" fmla="*/ 4241832 w 5173579"/>
                <a:gd name="connsiteY3" fmla="*/ 6744951 h 9654120"/>
                <a:gd name="connsiteX4" fmla="*/ 0 w 5173579"/>
                <a:gd name="connsiteY4" fmla="*/ 9654120 h 9654120"/>
                <a:gd name="connsiteX0" fmla="*/ 0 w 4770319"/>
                <a:gd name="connsiteY0" fmla="*/ 9654120 h 9654120"/>
                <a:gd name="connsiteX1" fmla="*/ 1173174 w 4770319"/>
                <a:gd name="connsiteY1" fmla="*/ 0 h 9654120"/>
                <a:gd name="connsiteX2" fmla="*/ 4770319 w 4770319"/>
                <a:gd name="connsiteY2" fmla="*/ 2387309 h 9654120"/>
                <a:gd name="connsiteX3" fmla="*/ 4241832 w 4770319"/>
                <a:gd name="connsiteY3" fmla="*/ 6744951 h 9654120"/>
                <a:gd name="connsiteX4" fmla="*/ 0 w 4770319"/>
                <a:gd name="connsiteY4" fmla="*/ 9654120 h 9654120"/>
                <a:gd name="connsiteX0" fmla="*/ 0 w 4770319"/>
                <a:gd name="connsiteY0" fmla="*/ 11834458 h 11834458"/>
                <a:gd name="connsiteX1" fmla="*/ 1452778 w 4770319"/>
                <a:gd name="connsiteY1" fmla="*/ 0 h 11834458"/>
                <a:gd name="connsiteX2" fmla="*/ 4770319 w 4770319"/>
                <a:gd name="connsiteY2" fmla="*/ 4567647 h 11834458"/>
                <a:gd name="connsiteX3" fmla="*/ 4241832 w 4770319"/>
                <a:gd name="connsiteY3" fmla="*/ 8925289 h 11834458"/>
                <a:gd name="connsiteX4" fmla="*/ 0 w 4770319"/>
                <a:gd name="connsiteY4" fmla="*/ 11834458 h 11834458"/>
                <a:gd name="connsiteX0" fmla="*/ 0 w 4770319"/>
                <a:gd name="connsiteY0" fmla="*/ 11834458 h 11834458"/>
                <a:gd name="connsiteX1" fmla="*/ 1452778 w 4770319"/>
                <a:gd name="connsiteY1" fmla="*/ 0 h 11834458"/>
                <a:gd name="connsiteX2" fmla="*/ 4770319 w 4770319"/>
                <a:gd name="connsiteY2" fmla="*/ 4567647 h 11834458"/>
                <a:gd name="connsiteX3" fmla="*/ 4234199 w 4770319"/>
                <a:gd name="connsiteY3" fmla="*/ 8914194 h 11834458"/>
                <a:gd name="connsiteX4" fmla="*/ 0 w 4770319"/>
                <a:gd name="connsiteY4" fmla="*/ 11834458 h 11834458"/>
                <a:gd name="connsiteX0" fmla="*/ 0 w 4770319"/>
                <a:gd name="connsiteY0" fmla="*/ 11893133 h 11893133"/>
                <a:gd name="connsiteX1" fmla="*/ 1395908 w 4770319"/>
                <a:gd name="connsiteY1" fmla="*/ 0 h 11893133"/>
                <a:gd name="connsiteX2" fmla="*/ 4770319 w 4770319"/>
                <a:gd name="connsiteY2" fmla="*/ 4626322 h 11893133"/>
                <a:gd name="connsiteX3" fmla="*/ 4234199 w 4770319"/>
                <a:gd name="connsiteY3" fmla="*/ 8972869 h 11893133"/>
                <a:gd name="connsiteX4" fmla="*/ 0 w 4770319"/>
                <a:gd name="connsiteY4" fmla="*/ 11893133 h 11893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70319" h="11893133">
                  <a:moveTo>
                    <a:pt x="0" y="11893133"/>
                  </a:moveTo>
                  <a:lnTo>
                    <a:pt x="1395908" y="0"/>
                  </a:lnTo>
                  <a:lnTo>
                    <a:pt x="4770319" y="4626322"/>
                  </a:lnTo>
                  <a:lnTo>
                    <a:pt x="4234199" y="8972869"/>
                  </a:lnTo>
                  <a:lnTo>
                    <a:pt x="0" y="11893133"/>
                  </a:lnTo>
                  <a:close/>
                </a:path>
              </a:pathLst>
            </a:custGeom>
            <a:solidFill>
              <a:srgbClr val="3F8D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  <p:sp>
          <p:nvSpPr>
            <p:cNvPr id="15" name="Parallelogram 13">
              <a:extLst>
                <a:ext uri="{FF2B5EF4-FFF2-40B4-BE49-F238E27FC236}">
                  <a16:creationId xmlns:a16="http://schemas.microsoft.com/office/drawing/2014/main" id="{F95D21D0-C1F7-8B2E-A198-138266299AE2}"/>
                </a:ext>
              </a:extLst>
            </p:cNvPr>
            <p:cNvSpPr/>
            <p:nvPr userDrawn="1"/>
          </p:nvSpPr>
          <p:spPr>
            <a:xfrm rot="8425880" flipH="1">
              <a:off x="3385128" y="-2747315"/>
              <a:ext cx="4217374" cy="12145347"/>
            </a:xfrm>
            <a:custGeom>
              <a:avLst/>
              <a:gdLst>
                <a:gd name="connsiteX0" fmla="*/ 0 w 5173579"/>
                <a:gd name="connsiteY0" fmla="*/ 9649326 h 9649326"/>
                <a:gd name="connsiteX1" fmla="*/ 1293395 w 5173579"/>
                <a:gd name="connsiteY1" fmla="*/ 0 h 9649326"/>
                <a:gd name="connsiteX2" fmla="*/ 5173579 w 5173579"/>
                <a:gd name="connsiteY2" fmla="*/ 0 h 9649326"/>
                <a:gd name="connsiteX3" fmla="*/ 3880184 w 5173579"/>
                <a:gd name="connsiteY3" fmla="*/ 9649326 h 9649326"/>
                <a:gd name="connsiteX4" fmla="*/ 0 w 5173579"/>
                <a:gd name="connsiteY4" fmla="*/ 9649326 h 9649326"/>
                <a:gd name="connsiteX0" fmla="*/ 0 w 5173579"/>
                <a:gd name="connsiteY0" fmla="*/ 9654120 h 9654120"/>
                <a:gd name="connsiteX1" fmla="*/ 1173174 w 5173579"/>
                <a:gd name="connsiteY1" fmla="*/ 0 h 9654120"/>
                <a:gd name="connsiteX2" fmla="*/ 5173579 w 5173579"/>
                <a:gd name="connsiteY2" fmla="*/ 4794 h 9654120"/>
                <a:gd name="connsiteX3" fmla="*/ 3880184 w 5173579"/>
                <a:gd name="connsiteY3" fmla="*/ 9654120 h 9654120"/>
                <a:gd name="connsiteX4" fmla="*/ 0 w 5173579"/>
                <a:gd name="connsiteY4" fmla="*/ 9654120 h 9654120"/>
                <a:gd name="connsiteX0" fmla="*/ 0 w 5173579"/>
                <a:gd name="connsiteY0" fmla="*/ 9654120 h 9654120"/>
                <a:gd name="connsiteX1" fmla="*/ 1173174 w 5173579"/>
                <a:gd name="connsiteY1" fmla="*/ 0 h 9654120"/>
                <a:gd name="connsiteX2" fmla="*/ 5173579 w 5173579"/>
                <a:gd name="connsiteY2" fmla="*/ 4794 h 9654120"/>
                <a:gd name="connsiteX3" fmla="*/ 4282810 w 5173579"/>
                <a:gd name="connsiteY3" fmla="*/ 6804383 h 9654120"/>
                <a:gd name="connsiteX4" fmla="*/ 0 w 5173579"/>
                <a:gd name="connsiteY4" fmla="*/ 9654120 h 9654120"/>
                <a:gd name="connsiteX0" fmla="*/ 0 w 5173579"/>
                <a:gd name="connsiteY0" fmla="*/ 9654120 h 9654120"/>
                <a:gd name="connsiteX1" fmla="*/ 1173174 w 5173579"/>
                <a:gd name="connsiteY1" fmla="*/ 0 h 9654120"/>
                <a:gd name="connsiteX2" fmla="*/ 5173579 w 5173579"/>
                <a:gd name="connsiteY2" fmla="*/ 4794 h 9654120"/>
                <a:gd name="connsiteX3" fmla="*/ 4241832 w 5173579"/>
                <a:gd name="connsiteY3" fmla="*/ 6744951 h 9654120"/>
                <a:gd name="connsiteX4" fmla="*/ 0 w 5173579"/>
                <a:gd name="connsiteY4" fmla="*/ 9654120 h 9654120"/>
                <a:gd name="connsiteX0" fmla="*/ 0 w 4770319"/>
                <a:gd name="connsiteY0" fmla="*/ 9654120 h 9654120"/>
                <a:gd name="connsiteX1" fmla="*/ 1173174 w 4770319"/>
                <a:gd name="connsiteY1" fmla="*/ 0 h 9654120"/>
                <a:gd name="connsiteX2" fmla="*/ 4770319 w 4770319"/>
                <a:gd name="connsiteY2" fmla="*/ 2387309 h 9654120"/>
                <a:gd name="connsiteX3" fmla="*/ 4241832 w 4770319"/>
                <a:gd name="connsiteY3" fmla="*/ 6744951 h 9654120"/>
                <a:gd name="connsiteX4" fmla="*/ 0 w 4770319"/>
                <a:gd name="connsiteY4" fmla="*/ 9654120 h 9654120"/>
                <a:gd name="connsiteX0" fmla="*/ 0 w 4770319"/>
                <a:gd name="connsiteY0" fmla="*/ 11834458 h 11834458"/>
                <a:gd name="connsiteX1" fmla="*/ 1452778 w 4770319"/>
                <a:gd name="connsiteY1" fmla="*/ 0 h 11834458"/>
                <a:gd name="connsiteX2" fmla="*/ 4770319 w 4770319"/>
                <a:gd name="connsiteY2" fmla="*/ 4567647 h 11834458"/>
                <a:gd name="connsiteX3" fmla="*/ 4241832 w 4770319"/>
                <a:gd name="connsiteY3" fmla="*/ 8925289 h 11834458"/>
                <a:gd name="connsiteX4" fmla="*/ 0 w 4770319"/>
                <a:gd name="connsiteY4" fmla="*/ 11834458 h 11834458"/>
                <a:gd name="connsiteX0" fmla="*/ 0 w 3758701"/>
                <a:gd name="connsiteY0" fmla="*/ 12193226 h 12193226"/>
                <a:gd name="connsiteX1" fmla="*/ 441160 w 3758701"/>
                <a:gd name="connsiteY1" fmla="*/ 0 h 12193226"/>
                <a:gd name="connsiteX2" fmla="*/ 3758701 w 3758701"/>
                <a:gd name="connsiteY2" fmla="*/ 4567647 h 12193226"/>
                <a:gd name="connsiteX3" fmla="*/ 3230214 w 3758701"/>
                <a:gd name="connsiteY3" fmla="*/ 8925289 h 12193226"/>
                <a:gd name="connsiteX4" fmla="*/ 0 w 3758701"/>
                <a:gd name="connsiteY4" fmla="*/ 12193226 h 12193226"/>
                <a:gd name="connsiteX0" fmla="*/ 0 w 3758701"/>
                <a:gd name="connsiteY0" fmla="*/ 12193226 h 12193226"/>
                <a:gd name="connsiteX1" fmla="*/ 441160 w 3758701"/>
                <a:gd name="connsiteY1" fmla="*/ 0 h 12193226"/>
                <a:gd name="connsiteX2" fmla="*/ 3758701 w 3758701"/>
                <a:gd name="connsiteY2" fmla="*/ 4567647 h 12193226"/>
                <a:gd name="connsiteX3" fmla="*/ 3382557 w 3758701"/>
                <a:gd name="connsiteY3" fmla="*/ 9197087 h 12193226"/>
                <a:gd name="connsiteX4" fmla="*/ 0 w 3758701"/>
                <a:gd name="connsiteY4" fmla="*/ 12193226 h 12193226"/>
                <a:gd name="connsiteX0" fmla="*/ 0 w 3758701"/>
                <a:gd name="connsiteY0" fmla="*/ 11937534 h 11937534"/>
                <a:gd name="connsiteX1" fmla="*/ 434410 w 3758701"/>
                <a:gd name="connsiteY1" fmla="*/ 0 h 11937534"/>
                <a:gd name="connsiteX2" fmla="*/ 3758701 w 3758701"/>
                <a:gd name="connsiteY2" fmla="*/ 4311955 h 11937534"/>
                <a:gd name="connsiteX3" fmla="*/ 3382557 w 3758701"/>
                <a:gd name="connsiteY3" fmla="*/ 8941395 h 11937534"/>
                <a:gd name="connsiteX4" fmla="*/ 0 w 3758701"/>
                <a:gd name="connsiteY4" fmla="*/ 11937534 h 11937534"/>
                <a:gd name="connsiteX0" fmla="*/ 0 w 3758701"/>
                <a:gd name="connsiteY0" fmla="*/ 12147583 h 12147583"/>
                <a:gd name="connsiteX1" fmla="*/ 435222 w 3758701"/>
                <a:gd name="connsiteY1" fmla="*/ 0 h 12147583"/>
                <a:gd name="connsiteX2" fmla="*/ 3758701 w 3758701"/>
                <a:gd name="connsiteY2" fmla="*/ 4522004 h 12147583"/>
                <a:gd name="connsiteX3" fmla="*/ 3382557 w 3758701"/>
                <a:gd name="connsiteY3" fmla="*/ 9151444 h 12147583"/>
                <a:gd name="connsiteX4" fmla="*/ 0 w 3758701"/>
                <a:gd name="connsiteY4" fmla="*/ 12147583 h 12147583"/>
                <a:gd name="connsiteX0" fmla="*/ 0 w 3718247"/>
                <a:gd name="connsiteY0" fmla="*/ 12094610 h 12094610"/>
                <a:gd name="connsiteX1" fmla="*/ 394768 w 3718247"/>
                <a:gd name="connsiteY1" fmla="*/ 0 h 12094610"/>
                <a:gd name="connsiteX2" fmla="*/ 3718247 w 3718247"/>
                <a:gd name="connsiteY2" fmla="*/ 4522004 h 12094610"/>
                <a:gd name="connsiteX3" fmla="*/ 3342103 w 3718247"/>
                <a:gd name="connsiteY3" fmla="*/ 9151444 h 12094610"/>
                <a:gd name="connsiteX4" fmla="*/ 0 w 3718247"/>
                <a:gd name="connsiteY4" fmla="*/ 12094610 h 12094610"/>
                <a:gd name="connsiteX0" fmla="*/ 0 w 3734266"/>
                <a:gd name="connsiteY0" fmla="*/ 12094610 h 12094610"/>
                <a:gd name="connsiteX1" fmla="*/ 394768 w 3734266"/>
                <a:gd name="connsiteY1" fmla="*/ 0 h 12094610"/>
                <a:gd name="connsiteX2" fmla="*/ 3734266 w 3734266"/>
                <a:gd name="connsiteY2" fmla="*/ 4542648 h 12094610"/>
                <a:gd name="connsiteX3" fmla="*/ 3342103 w 3734266"/>
                <a:gd name="connsiteY3" fmla="*/ 9151444 h 12094610"/>
                <a:gd name="connsiteX4" fmla="*/ 0 w 3734266"/>
                <a:gd name="connsiteY4" fmla="*/ 12094610 h 12094610"/>
                <a:gd name="connsiteX0" fmla="*/ 0 w 3756611"/>
                <a:gd name="connsiteY0" fmla="*/ 12094610 h 12094610"/>
                <a:gd name="connsiteX1" fmla="*/ 394768 w 3756611"/>
                <a:gd name="connsiteY1" fmla="*/ 0 h 12094610"/>
                <a:gd name="connsiteX2" fmla="*/ 3756611 w 3756611"/>
                <a:gd name="connsiteY2" fmla="*/ 4592468 h 12094610"/>
                <a:gd name="connsiteX3" fmla="*/ 3342103 w 3756611"/>
                <a:gd name="connsiteY3" fmla="*/ 9151444 h 12094610"/>
                <a:gd name="connsiteX4" fmla="*/ 0 w 3756611"/>
                <a:gd name="connsiteY4" fmla="*/ 12094610 h 12094610"/>
                <a:gd name="connsiteX0" fmla="*/ 0 w 3764149"/>
                <a:gd name="connsiteY0" fmla="*/ 12094610 h 12094610"/>
                <a:gd name="connsiteX1" fmla="*/ 394768 w 3764149"/>
                <a:gd name="connsiteY1" fmla="*/ 0 h 12094610"/>
                <a:gd name="connsiteX2" fmla="*/ 3764149 w 3764149"/>
                <a:gd name="connsiteY2" fmla="*/ 4559190 h 12094610"/>
                <a:gd name="connsiteX3" fmla="*/ 3342103 w 3764149"/>
                <a:gd name="connsiteY3" fmla="*/ 9151444 h 12094610"/>
                <a:gd name="connsiteX4" fmla="*/ 0 w 3764149"/>
                <a:gd name="connsiteY4" fmla="*/ 12094610 h 12094610"/>
                <a:gd name="connsiteX0" fmla="*/ 0 w 3769966"/>
                <a:gd name="connsiteY0" fmla="*/ 12094610 h 12094610"/>
                <a:gd name="connsiteX1" fmla="*/ 394768 w 3769966"/>
                <a:gd name="connsiteY1" fmla="*/ 0 h 12094610"/>
                <a:gd name="connsiteX2" fmla="*/ 3769966 w 3769966"/>
                <a:gd name="connsiteY2" fmla="*/ 4545190 h 12094610"/>
                <a:gd name="connsiteX3" fmla="*/ 3342103 w 3769966"/>
                <a:gd name="connsiteY3" fmla="*/ 9151444 h 12094610"/>
                <a:gd name="connsiteX4" fmla="*/ 0 w 3769966"/>
                <a:gd name="connsiteY4" fmla="*/ 12094610 h 12094610"/>
                <a:gd name="connsiteX0" fmla="*/ 0 w 3824271"/>
                <a:gd name="connsiteY0" fmla="*/ 12094610 h 12094610"/>
                <a:gd name="connsiteX1" fmla="*/ 394768 w 3824271"/>
                <a:gd name="connsiteY1" fmla="*/ 0 h 12094610"/>
                <a:gd name="connsiteX2" fmla="*/ 3824271 w 3824271"/>
                <a:gd name="connsiteY2" fmla="*/ 4550687 h 12094610"/>
                <a:gd name="connsiteX3" fmla="*/ 3342103 w 3824271"/>
                <a:gd name="connsiteY3" fmla="*/ 9151444 h 12094610"/>
                <a:gd name="connsiteX4" fmla="*/ 0 w 3824271"/>
                <a:gd name="connsiteY4" fmla="*/ 12094610 h 12094610"/>
                <a:gd name="connsiteX0" fmla="*/ 0 w 3926781"/>
                <a:gd name="connsiteY0" fmla="*/ 12094610 h 12094610"/>
                <a:gd name="connsiteX1" fmla="*/ 394768 w 3926781"/>
                <a:gd name="connsiteY1" fmla="*/ 0 h 12094610"/>
                <a:gd name="connsiteX2" fmla="*/ 3926781 w 3926781"/>
                <a:gd name="connsiteY2" fmla="*/ 4566893 h 12094610"/>
                <a:gd name="connsiteX3" fmla="*/ 3342103 w 3926781"/>
                <a:gd name="connsiteY3" fmla="*/ 9151444 h 12094610"/>
                <a:gd name="connsiteX4" fmla="*/ 0 w 3926781"/>
                <a:gd name="connsiteY4" fmla="*/ 12094610 h 12094610"/>
                <a:gd name="connsiteX0" fmla="*/ 0 w 3952346"/>
                <a:gd name="connsiteY0" fmla="*/ 12094610 h 12094610"/>
                <a:gd name="connsiteX1" fmla="*/ 394768 w 3952346"/>
                <a:gd name="connsiteY1" fmla="*/ 0 h 12094610"/>
                <a:gd name="connsiteX2" fmla="*/ 3952346 w 3952346"/>
                <a:gd name="connsiteY2" fmla="*/ 4586962 h 12094610"/>
                <a:gd name="connsiteX3" fmla="*/ 3342103 w 3952346"/>
                <a:gd name="connsiteY3" fmla="*/ 9151444 h 12094610"/>
                <a:gd name="connsiteX4" fmla="*/ 0 w 3952346"/>
                <a:gd name="connsiteY4" fmla="*/ 12094610 h 12094610"/>
                <a:gd name="connsiteX0" fmla="*/ 0 w 3943563"/>
                <a:gd name="connsiteY0" fmla="*/ 12094610 h 12094610"/>
                <a:gd name="connsiteX1" fmla="*/ 394768 w 3943563"/>
                <a:gd name="connsiteY1" fmla="*/ 0 h 12094610"/>
                <a:gd name="connsiteX2" fmla="*/ 3943563 w 3943563"/>
                <a:gd name="connsiteY2" fmla="*/ 4562765 h 12094610"/>
                <a:gd name="connsiteX3" fmla="*/ 3342103 w 3943563"/>
                <a:gd name="connsiteY3" fmla="*/ 9151444 h 12094610"/>
                <a:gd name="connsiteX4" fmla="*/ 0 w 3943563"/>
                <a:gd name="connsiteY4" fmla="*/ 12094610 h 12094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43563" h="12094610">
                  <a:moveTo>
                    <a:pt x="0" y="12094610"/>
                  </a:moveTo>
                  <a:lnTo>
                    <a:pt x="394768" y="0"/>
                  </a:lnTo>
                  <a:lnTo>
                    <a:pt x="3943563" y="4562765"/>
                  </a:lnTo>
                  <a:lnTo>
                    <a:pt x="3342103" y="9151444"/>
                  </a:lnTo>
                  <a:lnTo>
                    <a:pt x="0" y="12094610"/>
                  </a:lnTo>
                  <a:close/>
                </a:path>
              </a:pathLst>
            </a:custGeom>
            <a:solidFill>
              <a:srgbClr val="6FC0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89D7E75C-7FF4-B5DB-908B-43099D5D03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01449" y="3769448"/>
            <a:ext cx="7590550" cy="716187"/>
          </a:xfrm>
          <a:prstGeom prst="rect">
            <a:avLst/>
          </a:prstGeom>
        </p:spPr>
        <p:txBody>
          <a:bodyPr lIns="0" tIns="0" rIns="182880" bIns="0" anchor="t">
            <a:noAutofit/>
          </a:bodyPr>
          <a:lstStyle>
            <a:lvl1pPr marL="406433" marR="0" indent="0" algn="l" defTabSz="9144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>
                <a:solidFill>
                  <a:srgbClr val="595959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35E73EA-E110-F443-C187-294E2C9C10E5}"/>
              </a:ext>
            </a:extLst>
          </p:cNvPr>
          <p:cNvSpPr txBox="1"/>
          <p:nvPr userDrawn="1"/>
        </p:nvSpPr>
        <p:spPr>
          <a:xfrm>
            <a:off x="5779477" y="6645648"/>
            <a:ext cx="62308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" dirty="0">
                <a:solidFill>
                  <a:srgbClr val="54596A"/>
                </a:solidFill>
              </a:rPr>
              <a:t>© 2023 </a:t>
            </a:r>
            <a:r>
              <a:rPr lang="en-US" sz="800" dirty="0" err="1">
                <a:solidFill>
                  <a:srgbClr val="54596A"/>
                </a:solidFill>
              </a:rPr>
              <a:t>TPx</a:t>
            </a:r>
            <a:r>
              <a:rPr lang="en-US" sz="800" dirty="0">
                <a:solidFill>
                  <a:srgbClr val="54596A"/>
                </a:solidFill>
              </a:rPr>
              <a:t> Communications. Confidential Information.</a:t>
            </a:r>
          </a:p>
        </p:txBody>
      </p:sp>
    </p:spTree>
    <p:extLst>
      <p:ext uri="{BB962C8B-B14F-4D97-AF65-F5344CB8AC3E}">
        <p14:creationId xmlns:p14="http://schemas.microsoft.com/office/powerpoint/2010/main" val="6528818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ed Section Divider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BDA4D00A-3DE7-455D-996E-5B9A8C59A4A1}"/>
              </a:ext>
            </a:extLst>
          </p:cNvPr>
          <p:cNvSpPr/>
          <p:nvPr userDrawn="1"/>
        </p:nvSpPr>
        <p:spPr>
          <a:xfrm>
            <a:off x="199698" y="235277"/>
            <a:ext cx="11792607" cy="6409997"/>
          </a:xfrm>
          <a:prstGeom prst="rect">
            <a:avLst/>
          </a:prstGeom>
          <a:solidFill>
            <a:srgbClr val="007AC3"/>
          </a:solidFill>
        </p:spPr>
        <p:txBody>
          <a:bodyPr vert="horz" lIns="274320" tIns="0" rIns="274320" bIns="0" rtlCol="0" anchor="ctr" anchorCtr="0">
            <a:noAutofit/>
          </a:bodyPr>
          <a:lstStyle/>
          <a:p>
            <a:pPr marL="914473" lvl="0">
              <a:lnSpc>
                <a:spcPct val="100000"/>
              </a:lnSpc>
              <a:spcBef>
                <a:spcPct val="0"/>
              </a:spcBef>
              <a:buNone/>
            </a:pPr>
            <a:endParaRPr lang="en-US" sz="3600" cap="all" baseline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Oswald Regular" pitchFamily="2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950B4A-3376-41E4-906A-8F38C20799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1453" y="2629625"/>
            <a:ext cx="10121459" cy="905987"/>
          </a:xfrm>
          <a:prstGeom prst="rect">
            <a:avLst/>
          </a:prstGeom>
          <a:noFill/>
        </p:spPr>
        <p:txBody>
          <a:bodyPr lIns="0" rIns="0" anchor="ctr"/>
          <a:lstStyle>
            <a:lvl1pPr marL="0"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US" dirty="0"/>
              <a:t>Click to edit slide divider header</a:t>
            </a:r>
          </a:p>
        </p:txBody>
      </p:sp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9DEC1CE1-1CCB-4E25-90C7-2521C5F069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1453" y="3550329"/>
            <a:ext cx="10121459" cy="716187"/>
          </a:xfrm>
          <a:prstGeom prst="rect">
            <a:avLst/>
          </a:prstGeom>
        </p:spPr>
        <p:txBody>
          <a:bodyPr lIns="0" tIns="0" rIns="182880" bIns="0" anchor="ctr">
            <a:noAutofit/>
          </a:bodyPr>
          <a:lstStyle>
            <a:lvl1pPr marL="0" marR="0" indent="0" algn="l" defTabSz="9144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DC4F9C3-80FD-4DB9-B6B4-BF56632736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" y="2591487"/>
            <a:ext cx="1271755" cy="1675029"/>
          </a:xfrm>
          <a:prstGeom prst="rect">
            <a:avLst/>
          </a:prstGeom>
          <a:solidFill>
            <a:srgbClr val="6FC055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>
              <a:defRPr lang="en-US" sz="4800" spc="-200" baseline="0" dirty="0">
                <a:solidFill>
                  <a:schemeClr val="lt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 algn="ctr"/>
            <a:r>
              <a:rPr lang="en-US"/>
              <a:t>1</a:t>
            </a:r>
          </a:p>
        </p:txBody>
      </p: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99463807-8727-2BEA-AC68-BBE7F3465EF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3124" y="6011851"/>
            <a:ext cx="1271755" cy="47690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31B543E-0B88-A0D9-B83B-AF683AB0221A}"/>
              </a:ext>
            </a:extLst>
          </p:cNvPr>
          <p:cNvSpPr txBox="1"/>
          <p:nvPr userDrawn="1"/>
        </p:nvSpPr>
        <p:spPr>
          <a:xfrm>
            <a:off x="5835188" y="6642556"/>
            <a:ext cx="62308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" dirty="0">
                <a:solidFill>
                  <a:srgbClr val="54596A"/>
                </a:solidFill>
              </a:rPr>
              <a:t>© 2023 </a:t>
            </a:r>
            <a:r>
              <a:rPr lang="en-US" sz="800" dirty="0" err="1">
                <a:solidFill>
                  <a:srgbClr val="54596A"/>
                </a:solidFill>
              </a:rPr>
              <a:t>TPx</a:t>
            </a:r>
            <a:r>
              <a:rPr lang="en-US" sz="800" dirty="0">
                <a:solidFill>
                  <a:srgbClr val="54596A"/>
                </a:solidFill>
              </a:rPr>
              <a:t> Communications. Confidential Information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314538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mbered Section Divider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BF3AA82-BBCE-A946-7EF9-4E4F7FDB3623}"/>
              </a:ext>
            </a:extLst>
          </p:cNvPr>
          <p:cNvSpPr/>
          <p:nvPr userDrawn="1"/>
        </p:nvSpPr>
        <p:spPr>
          <a:xfrm>
            <a:off x="201706" y="231588"/>
            <a:ext cx="11788588" cy="6417235"/>
          </a:xfrm>
          <a:prstGeom prst="rect">
            <a:avLst/>
          </a:prstGeom>
          <a:solidFill>
            <a:srgbClr val="5E5E5F"/>
          </a:solidFill>
        </p:spPr>
        <p:txBody>
          <a:bodyPr vert="horz" lIns="274320" tIns="0" rIns="274320" bIns="0" rtlCol="0" anchor="ctr" anchorCtr="0">
            <a:noAutofit/>
          </a:bodyPr>
          <a:lstStyle/>
          <a:p>
            <a:pPr marL="914473" lvl="0">
              <a:lnSpc>
                <a:spcPct val="100000"/>
              </a:lnSpc>
              <a:spcBef>
                <a:spcPct val="0"/>
              </a:spcBef>
              <a:buNone/>
            </a:pPr>
            <a:endParaRPr lang="en-US" sz="3600" cap="all" baseline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Oswald Regular" pitchFamily="2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40F729A-28A7-9831-6313-8A69A066EE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1453" y="2629625"/>
            <a:ext cx="10121459" cy="905987"/>
          </a:xfrm>
          <a:prstGeom prst="rect">
            <a:avLst/>
          </a:prstGeom>
          <a:noFill/>
        </p:spPr>
        <p:txBody>
          <a:bodyPr lIns="0" rIns="0" anchor="ctr"/>
          <a:lstStyle>
            <a:lvl1pPr marL="0"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US" dirty="0"/>
              <a:t>Click to edit slide divider header</a:t>
            </a:r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0DA0EEC2-9799-5321-54CE-B7527EC147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1453" y="3550329"/>
            <a:ext cx="10121459" cy="716187"/>
          </a:xfrm>
          <a:prstGeom prst="rect">
            <a:avLst/>
          </a:prstGeom>
        </p:spPr>
        <p:txBody>
          <a:bodyPr lIns="0" tIns="0" rIns="182880" bIns="0" anchor="ctr">
            <a:noAutofit/>
          </a:bodyPr>
          <a:lstStyle>
            <a:lvl1pPr marL="0" marR="0" indent="0" algn="l" defTabSz="9144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F1081DB1-FE59-3B5E-0D3E-0972E63B45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" y="2591487"/>
            <a:ext cx="1271755" cy="1675029"/>
          </a:xfrm>
          <a:prstGeom prst="rect">
            <a:avLst/>
          </a:prstGeom>
          <a:solidFill>
            <a:srgbClr val="6FC055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>
              <a:defRPr lang="en-US" sz="4800" spc="-200" baseline="0" dirty="0">
                <a:solidFill>
                  <a:schemeClr val="lt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 algn="ctr"/>
            <a:r>
              <a:rPr lang="en-US" dirty="0"/>
              <a:t>1</a:t>
            </a:r>
          </a:p>
        </p:txBody>
      </p: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F79A9FD9-5D44-C887-7B4A-42C5F329C6F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3124" y="6011851"/>
            <a:ext cx="1271755" cy="47690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E46EAD4-0C9F-5587-9E1C-F9B287BF223E}"/>
              </a:ext>
            </a:extLst>
          </p:cNvPr>
          <p:cNvSpPr txBox="1"/>
          <p:nvPr userDrawn="1"/>
        </p:nvSpPr>
        <p:spPr>
          <a:xfrm>
            <a:off x="5835188" y="6642556"/>
            <a:ext cx="62308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" dirty="0">
                <a:solidFill>
                  <a:srgbClr val="54596A"/>
                </a:solidFill>
              </a:rPr>
              <a:t>© 2023 </a:t>
            </a:r>
            <a:r>
              <a:rPr lang="en-US" sz="800" dirty="0" err="1">
                <a:solidFill>
                  <a:srgbClr val="54596A"/>
                </a:solidFill>
              </a:rPr>
              <a:t>TPx</a:t>
            </a:r>
            <a:r>
              <a:rPr lang="en-US" sz="800" dirty="0">
                <a:solidFill>
                  <a:srgbClr val="54596A"/>
                </a:solidFill>
              </a:rPr>
              <a:t> Communications. Confidential Information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37141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 Slide -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">
            <a:extLst>
              <a:ext uri="{FF2B5EF4-FFF2-40B4-BE49-F238E27FC236}">
                <a16:creationId xmlns:a16="http://schemas.microsoft.com/office/drawing/2014/main" id="{E156F289-F587-0535-45ED-10B9A651C28C}"/>
              </a:ext>
            </a:extLst>
          </p:cNvPr>
          <p:cNvSpPr/>
          <p:nvPr userDrawn="1"/>
        </p:nvSpPr>
        <p:spPr>
          <a:xfrm>
            <a:off x="0" y="1673903"/>
            <a:ext cx="10473764" cy="3489377"/>
          </a:xfrm>
          <a:custGeom>
            <a:avLst/>
            <a:gdLst>
              <a:gd name="connsiteX0" fmla="*/ 0 w 18852776"/>
              <a:gd name="connsiteY0" fmla="*/ 0 h 6280878"/>
              <a:gd name="connsiteX1" fmla="*/ 18852776 w 18852776"/>
              <a:gd name="connsiteY1" fmla="*/ 0 h 6280878"/>
              <a:gd name="connsiteX2" fmla="*/ 18852776 w 18852776"/>
              <a:gd name="connsiteY2" fmla="*/ 6280878 h 6280878"/>
              <a:gd name="connsiteX3" fmla="*/ 0 w 18852776"/>
              <a:gd name="connsiteY3" fmla="*/ 6280878 h 6280878"/>
              <a:gd name="connsiteX4" fmla="*/ 0 w 18852776"/>
              <a:gd name="connsiteY4" fmla="*/ 0 h 6280878"/>
              <a:gd name="connsiteX0" fmla="*/ 0 w 18852776"/>
              <a:gd name="connsiteY0" fmla="*/ 0 h 6280878"/>
              <a:gd name="connsiteX1" fmla="*/ 18852776 w 18852776"/>
              <a:gd name="connsiteY1" fmla="*/ 0 h 6280878"/>
              <a:gd name="connsiteX2" fmla="*/ 15087600 w 18852776"/>
              <a:gd name="connsiteY2" fmla="*/ 6280878 h 6280878"/>
              <a:gd name="connsiteX3" fmla="*/ 0 w 18852776"/>
              <a:gd name="connsiteY3" fmla="*/ 6280878 h 6280878"/>
              <a:gd name="connsiteX4" fmla="*/ 0 w 18852776"/>
              <a:gd name="connsiteY4" fmla="*/ 0 h 62808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852776" h="6280878">
                <a:moveTo>
                  <a:pt x="0" y="0"/>
                </a:moveTo>
                <a:lnTo>
                  <a:pt x="18852776" y="0"/>
                </a:lnTo>
                <a:lnTo>
                  <a:pt x="15087600" y="6280878"/>
                </a:lnTo>
                <a:lnTo>
                  <a:pt x="0" y="6280878"/>
                </a:lnTo>
                <a:lnTo>
                  <a:pt x="0" y="0"/>
                </a:lnTo>
                <a:close/>
              </a:path>
            </a:pathLst>
          </a:custGeom>
          <a:solidFill>
            <a:srgbClr val="007A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2" name="Parallelogram 3">
            <a:extLst>
              <a:ext uri="{FF2B5EF4-FFF2-40B4-BE49-F238E27FC236}">
                <a16:creationId xmlns:a16="http://schemas.microsoft.com/office/drawing/2014/main" id="{1C082A5E-2F3B-6773-C24A-C084740ACAE0}"/>
              </a:ext>
            </a:extLst>
          </p:cNvPr>
          <p:cNvSpPr/>
          <p:nvPr userDrawn="1"/>
        </p:nvSpPr>
        <p:spPr>
          <a:xfrm>
            <a:off x="10072635" y="1673903"/>
            <a:ext cx="1647929" cy="1807541"/>
          </a:xfrm>
          <a:custGeom>
            <a:avLst/>
            <a:gdLst>
              <a:gd name="connsiteX0" fmla="*/ 0 w 2032000"/>
              <a:gd name="connsiteY0" fmla="*/ 11811000 h 11811000"/>
              <a:gd name="connsiteX1" fmla="*/ 508000 w 2032000"/>
              <a:gd name="connsiteY1" fmla="*/ 0 h 11811000"/>
              <a:gd name="connsiteX2" fmla="*/ 2032000 w 2032000"/>
              <a:gd name="connsiteY2" fmla="*/ 0 h 11811000"/>
              <a:gd name="connsiteX3" fmla="*/ 1524000 w 2032000"/>
              <a:gd name="connsiteY3" fmla="*/ 11811000 h 11811000"/>
              <a:gd name="connsiteX4" fmla="*/ 0 w 2032000"/>
              <a:gd name="connsiteY4" fmla="*/ 11811000 h 11811000"/>
              <a:gd name="connsiteX0" fmla="*/ 0 w 7645400"/>
              <a:gd name="connsiteY0" fmla="*/ 11811000 h 11811000"/>
              <a:gd name="connsiteX1" fmla="*/ 508000 w 7645400"/>
              <a:gd name="connsiteY1" fmla="*/ 0 h 11811000"/>
              <a:gd name="connsiteX2" fmla="*/ 7645400 w 7645400"/>
              <a:gd name="connsiteY2" fmla="*/ 990600 h 11811000"/>
              <a:gd name="connsiteX3" fmla="*/ 1524000 w 7645400"/>
              <a:gd name="connsiteY3" fmla="*/ 11811000 h 11811000"/>
              <a:gd name="connsiteX4" fmla="*/ 0 w 7645400"/>
              <a:gd name="connsiteY4" fmla="*/ 11811000 h 11811000"/>
              <a:gd name="connsiteX0" fmla="*/ 0 w 7645400"/>
              <a:gd name="connsiteY0" fmla="*/ 10896600 h 10896600"/>
              <a:gd name="connsiteX1" fmla="*/ 5969000 w 7645400"/>
              <a:gd name="connsiteY1" fmla="*/ 0 h 10896600"/>
              <a:gd name="connsiteX2" fmla="*/ 7645400 w 7645400"/>
              <a:gd name="connsiteY2" fmla="*/ 76200 h 10896600"/>
              <a:gd name="connsiteX3" fmla="*/ 1524000 w 7645400"/>
              <a:gd name="connsiteY3" fmla="*/ 10896600 h 10896600"/>
              <a:gd name="connsiteX4" fmla="*/ 0 w 7645400"/>
              <a:gd name="connsiteY4" fmla="*/ 10896600 h 10896600"/>
              <a:gd name="connsiteX0" fmla="*/ 0 w 7645400"/>
              <a:gd name="connsiteY0" fmla="*/ 10820400 h 10820400"/>
              <a:gd name="connsiteX1" fmla="*/ 5943600 w 7645400"/>
              <a:gd name="connsiteY1" fmla="*/ 0 h 10820400"/>
              <a:gd name="connsiteX2" fmla="*/ 7645400 w 7645400"/>
              <a:gd name="connsiteY2" fmla="*/ 0 h 10820400"/>
              <a:gd name="connsiteX3" fmla="*/ 1524000 w 7645400"/>
              <a:gd name="connsiteY3" fmla="*/ 10820400 h 10820400"/>
              <a:gd name="connsiteX4" fmla="*/ 0 w 7645400"/>
              <a:gd name="connsiteY4" fmla="*/ 10820400 h 10820400"/>
              <a:gd name="connsiteX0" fmla="*/ 0 w 7645400"/>
              <a:gd name="connsiteY0" fmla="*/ 10833847 h 10833847"/>
              <a:gd name="connsiteX1" fmla="*/ 6064623 w 7645400"/>
              <a:gd name="connsiteY1" fmla="*/ 0 h 10833847"/>
              <a:gd name="connsiteX2" fmla="*/ 7645400 w 7645400"/>
              <a:gd name="connsiteY2" fmla="*/ 13447 h 10833847"/>
              <a:gd name="connsiteX3" fmla="*/ 1524000 w 7645400"/>
              <a:gd name="connsiteY3" fmla="*/ 10833847 h 10833847"/>
              <a:gd name="connsiteX4" fmla="*/ 0 w 7645400"/>
              <a:gd name="connsiteY4" fmla="*/ 10833847 h 10833847"/>
              <a:gd name="connsiteX0" fmla="*/ 0 w 7658847"/>
              <a:gd name="connsiteY0" fmla="*/ 10833847 h 10833847"/>
              <a:gd name="connsiteX1" fmla="*/ 6064623 w 7658847"/>
              <a:gd name="connsiteY1" fmla="*/ 0 h 10833847"/>
              <a:gd name="connsiteX2" fmla="*/ 7658847 w 7658847"/>
              <a:gd name="connsiteY2" fmla="*/ 0 h 10833847"/>
              <a:gd name="connsiteX3" fmla="*/ 1524000 w 7658847"/>
              <a:gd name="connsiteY3" fmla="*/ 10833847 h 10833847"/>
              <a:gd name="connsiteX4" fmla="*/ 0 w 7658847"/>
              <a:gd name="connsiteY4" fmla="*/ 10833847 h 10833847"/>
              <a:gd name="connsiteX0" fmla="*/ 0 w 8519458"/>
              <a:gd name="connsiteY0" fmla="*/ 10833847 h 10833847"/>
              <a:gd name="connsiteX1" fmla="*/ 6064623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519458"/>
              <a:gd name="connsiteY0" fmla="*/ 10833847 h 10833847"/>
              <a:gd name="connsiteX1" fmla="*/ 7167281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344463"/>
              <a:gd name="connsiteY0" fmla="*/ 10845647 h 10845647"/>
              <a:gd name="connsiteX1" fmla="*/ 6992286 w 8344463"/>
              <a:gd name="connsiteY1" fmla="*/ 0 h 10845647"/>
              <a:gd name="connsiteX2" fmla="*/ 8344463 w 8344463"/>
              <a:gd name="connsiteY2" fmla="*/ 0 h 10845647"/>
              <a:gd name="connsiteX3" fmla="*/ 1349005 w 8344463"/>
              <a:gd name="connsiteY3" fmla="*/ 10833847 h 10845647"/>
              <a:gd name="connsiteX4" fmla="*/ 0 w 8344463"/>
              <a:gd name="connsiteY4" fmla="*/ 10845647 h 10845647"/>
              <a:gd name="connsiteX0" fmla="*/ 0 w 8344463"/>
              <a:gd name="connsiteY0" fmla="*/ 10845647 h 10845647"/>
              <a:gd name="connsiteX1" fmla="*/ 6992286 w 8344463"/>
              <a:gd name="connsiteY1" fmla="*/ 0 h 10845647"/>
              <a:gd name="connsiteX2" fmla="*/ 8344463 w 8344463"/>
              <a:gd name="connsiteY2" fmla="*/ 0 h 10845647"/>
              <a:gd name="connsiteX3" fmla="*/ 3179732 w 8344463"/>
              <a:gd name="connsiteY3" fmla="*/ 8013612 h 10845647"/>
              <a:gd name="connsiteX4" fmla="*/ 0 w 8344463"/>
              <a:gd name="connsiteY4" fmla="*/ 10845647 h 10845647"/>
              <a:gd name="connsiteX0" fmla="*/ 0 w 6527198"/>
              <a:gd name="connsiteY0" fmla="*/ 8025412 h 8025412"/>
              <a:gd name="connsiteX1" fmla="*/ 5175021 w 6527198"/>
              <a:gd name="connsiteY1" fmla="*/ 0 h 8025412"/>
              <a:gd name="connsiteX2" fmla="*/ 6527198 w 6527198"/>
              <a:gd name="connsiteY2" fmla="*/ 0 h 8025412"/>
              <a:gd name="connsiteX3" fmla="*/ 1362467 w 6527198"/>
              <a:gd name="connsiteY3" fmla="*/ 8013612 h 8025412"/>
              <a:gd name="connsiteX4" fmla="*/ 0 w 6527198"/>
              <a:gd name="connsiteY4" fmla="*/ 8025412 h 8025412"/>
              <a:gd name="connsiteX0" fmla="*/ 0 w 6486815"/>
              <a:gd name="connsiteY0" fmla="*/ 8001812 h 8013612"/>
              <a:gd name="connsiteX1" fmla="*/ 5134638 w 6486815"/>
              <a:gd name="connsiteY1" fmla="*/ 0 h 8013612"/>
              <a:gd name="connsiteX2" fmla="*/ 6486815 w 6486815"/>
              <a:gd name="connsiteY2" fmla="*/ 0 h 8013612"/>
              <a:gd name="connsiteX3" fmla="*/ 1322084 w 6486815"/>
              <a:gd name="connsiteY3" fmla="*/ 8013612 h 8013612"/>
              <a:gd name="connsiteX4" fmla="*/ 0 w 6486815"/>
              <a:gd name="connsiteY4" fmla="*/ 8001812 h 8013612"/>
              <a:gd name="connsiteX0" fmla="*/ 0 w 6513737"/>
              <a:gd name="connsiteY0" fmla="*/ 8001812 h 8013612"/>
              <a:gd name="connsiteX1" fmla="*/ 5161560 w 6513737"/>
              <a:gd name="connsiteY1" fmla="*/ 0 h 8013612"/>
              <a:gd name="connsiteX2" fmla="*/ 6513737 w 6513737"/>
              <a:gd name="connsiteY2" fmla="*/ 0 h 8013612"/>
              <a:gd name="connsiteX3" fmla="*/ 1349006 w 6513737"/>
              <a:gd name="connsiteY3" fmla="*/ 8013612 h 8013612"/>
              <a:gd name="connsiteX4" fmla="*/ 0 w 6513737"/>
              <a:gd name="connsiteY4" fmla="*/ 8001812 h 8013612"/>
              <a:gd name="connsiteX0" fmla="*/ 0 w 6513737"/>
              <a:gd name="connsiteY0" fmla="*/ 8001812 h 8001812"/>
              <a:gd name="connsiteX1" fmla="*/ 5161560 w 6513737"/>
              <a:gd name="connsiteY1" fmla="*/ 0 h 8001812"/>
              <a:gd name="connsiteX2" fmla="*/ 6513737 w 6513737"/>
              <a:gd name="connsiteY2" fmla="*/ 0 h 8001812"/>
              <a:gd name="connsiteX3" fmla="*/ 2897047 w 6513737"/>
              <a:gd name="connsiteY3" fmla="*/ 5606382 h 8001812"/>
              <a:gd name="connsiteX4" fmla="*/ 0 w 6513737"/>
              <a:gd name="connsiteY4" fmla="*/ 8001812 h 8001812"/>
              <a:gd name="connsiteX0" fmla="*/ 0 w 4952235"/>
              <a:gd name="connsiteY0" fmla="*/ 5594582 h 5606382"/>
              <a:gd name="connsiteX1" fmla="*/ 3600058 w 4952235"/>
              <a:gd name="connsiteY1" fmla="*/ 0 h 5606382"/>
              <a:gd name="connsiteX2" fmla="*/ 4952235 w 4952235"/>
              <a:gd name="connsiteY2" fmla="*/ 0 h 5606382"/>
              <a:gd name="connsiteX3" fmla="*/ 1335545 w 4952235"/>
              <a:gd name="connsiteY3" fmla="*/ 5606382 h 5606382"/>
              <a:gd name="connsiteX4" fmla="*/ 0 w 4952235"/>
              <a:gd name="connsiteY4" fmla="*/ 5594582 h 5606382"/>
              <a:gd name="connsiteX0" fmla="*/ 0 w 4992618"/>
              <a:gd name="connsiteY0" fmla="*/ 5618182 h 5618182"/>
              <a:gd name="connsiteX1" fmla="*/ 3640441 w 4992618"/>
              <a:gd name="connsiteY1" fmla="*/ 0 h 5618182"/>
              <a:gd name="connsiteX2" fmla="*/ 4992618 w 4992618"/>
              <a:gd name="connsiteY2" fmla="*/ 0 h 5618182"/>
              <a:gd name="connsiteX3" fmla="*/ 1375928 w 4992618"/>
              <a:gd name="connsiteY3" fmla="*/ 5606382 h 5618182"/>
              <a:gd name="connsiteX4" fmla="*/ 0 w 4992618"/>
              <a:gd name="connsiteY4" fmla="*/ 5618182 h 5618182"/>
              <a:gd name="connsiteX0" fmla="*/ 0 w 4992618"/>
              <a:gd name="connsiteY0" fmla="*/ 5618182 h 5618182"/>
              <a:gd name="connsiteX1" fmla="*/ 3592264 w 4992618"/>
              <a:gd name="connsiteY1" fmla="*/ 0 h 5618182"/>
              <a:gd name="connsiteX2" fmla="*/ 4992618 w 4992618"/>
              <a:gd name="connsiteY2" fmla="*/ 0 h 5618182"/>
              <a:gd name="connsiteX3" fmla="*/ 1375928 w 4992618"/>
              <a:gd name="connsiteY3" fmla="*/ 5606382 h 5618182"/>
              <a:gd name="connsiteX4" fmla="*/ 0 w 4992618"/>
              <a:gd name="connsiteY4" fmla="*/ 5618182 h 5618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92618" h="5618182">
                <a:moveTo>
                  <a:pt x="0" y="5618182"/>
                </a:moveTo>
                <a:lnTo>
                  <a:pt x="3592264" y="0"/>
                </a:lnTo>
                <a:lnTo>
                  <a:pt x="4992618" y="0"/>
                </a:lnTo>
                <a:lnTo>
                  <a:pt x="1375928" y="5606382"/>
                </a:lnTo>
                <a:lnTo>
                  <a:pt x="0" y="5618182"/>
                </a:lnTo>
                <a:close/>
              </a:path>
            </a:pathLst>
          </a:custGeom>
          <a:solidFill>
            <a:srgbClr val="6FC0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3" name="Parallelogram 3">
            <a:extLst>
              <a:ext uri="{FF2B5EF4-FFF2-40B4-BE49-F238E27FC236}">
                <a16:creationId xmlns:a16="http://schemas.microsoft.com/office/drawing/2014/main" id="{5EE77E00-E0DC-16E7-3C11-D8782FFBD358}"/>
              </a:ext>
            </a:extLst>
          </p:cNvPr>
          <p:cNvSpPr/>
          <p:nvPr userDrawn="1"/>
        </p:nvSpPr>
        <p:spPr>
          <a:xfrm>
            <a:off x="9151327" y="1673903"/>
            <a:ext cx="2150010" cy="2578224"/>
          </a:xfrm>
          <a:custGeom>
            <a:avLst/>
            <a:gdLst>
              <a:gd name="connsiteX0" fmla="*/ 0 w 2032000"/>
              <a:gd name="connsiteY0" fmla="*/ 11811000 h 11811000"/>
              <a:gd name="connsiteX1" fmla="*/ 508000 w 2032000"/>
              <a:gd name="connsiteY1" fmla="*/ 0 h 11811000"/>
              <a:gd name="connsiteX2" fmla="*/ 2032000 w 2032000"/>
              <a:gd name="connsiteY2" fmla="*/ 0 h 11811000"/>
              <a:gd name="connsiteX3" fmla="*/ 1524000 w 2032000"/>
              <a:gd name="connsiteY3" fmla="*/ 11811000 h 11811000"/>
              <a:gd name="connsiteX4" fmla="*/ 0 w 2032000"/>
              <a:gd name="connsiteY4" fmla="*/ 11811000 h 11811000"/>
              <a:gd name="connsiteX0" fmla="*/ 0 w 7645400"/>
              <a:gd name="connsiteY0" fmla="*/ 11811000 h 11811000"/>
              <a:gd name="connsiteX1" fmla="*/ 508000 w 7645400"/>
              <a:gd name="connsiteY1" fmla="*/ 0 h 11811000"/>
              <a:gd name="connsiteX2" fmla="*/ 7645400 w 7645400"/>
              <a:gd name="connsiteY2" fmla="*/ 990600 h 11811000"/>
              <a:gd name="connsiteX3" fmla="*/ 1524000 w 7645400"/>
              <a:gd name="connsiteY3" fmla="*/ 11811000 h 11811000"/>
              <a:gd name="connsiteX4" fmla="*/ 0 w 7645400"/>
              <a:gd name="connsiteY4" fmla="*/ 11811000 h 11811000"/>
              <a:gd name="connsiteX0" fmla="*/ 0 w 7645400"/>
              <a:gd name="connsiteY0" fmla="*/ 10896600 h 10896600"/>
              <a:gd name="connsiteX1" fmla="*/ 5969000 w 7645400"/>
              <a:gd name="connsiteY1" fmla="*/ 0 h 10896600"/>
              <a:gd name="connsiteX2" fmla="*/ 7645400 w 7645400"/>
              <a:gd name="connsiteY2" fmla="*/ 76200 h 10896600"/>
              <a:gd name="connsiteX3" fmla="*/ 1524000 w 7645400"/>
              <a:gd name="connsiteY3" fmla="*/ 10896600 h 10896600"/>
              <a:gd name="connsiteX4" fmla="*/ 0 w 7645400"/>
              <a:gd name="connsiteY4" fmla="*/ 10896600 h 10896600"/>
              <a:gd name="connsiteX0" fmla="*/ 0 w 7645400"/>
              <a:gd name="connsiteY0" fmla="*/ 10820400 h 10820400"/>
              <a:gd name="connsiteX1" fmla="*/ 5943600 w 7645400"/>
              <a:gd name="connsiteY1" fmla="*/ 0 h 10820400"/>
              <a:gd name="connsiteX2" fmla="*/ 7645400 w 7645400"/>
              <a:gd name="connsiteY2" fmla="*/ 0 h 10820400"/>
              <a:gd name="connsiteX3" fmla="*/ 1524000 w 7645400"/>
              <a:gd name="connsiteY3" fmla="*/ 10820400 h 10820400"/>
              <a:gd name="connsiteX4" fmla="*/ 0 w 7645400"/>
              <a:gd name="connsiteY4" fmla="*/ 10820400 h 10820400"/>
              <a:gd name="connsiteX0" fmla="*/ 0 w 7645400"/>
              <a:gd name="connsiteY0" fmla="*/ 10833847 h 10833847"/>
              <a:gd name="connsiteX1" fmla="*/ 6064623 w 7645400"/>
              <a:gd name="connsiteY1" fmla="*/ 0 h 10833847"/>
              <a:gd name="connsiteX2" fmla="*/ 7645400 w 7645400"/>
              <a:gd name="connsiteY2" fmla="*/ 13447 h 10833847"/>
              <a:gd name="connsiteX3" fmla="*/ 1524000 w 7645400"/>
              <a:gd name="connsiteY3" fmla="*/ 10833847 h 10833847"/>
              <a:gd name="connsiteX4" fmla="*/ 0 w 7645400"/>
              <a:gd name="connsiteY4" fmla="*/ 10833847 h 10833847"/>
              <a:gd name="connsiteX0" fmla="*/ 0 w 7658847"/>
              <a:gd name="connsiteY0" fmla="*/ 10833847 h 10833847"/>
              <a:gd name="connsiteX1" fmla="*/ 6064623 w 7658847"/>
              <a:gd name="connsiteY1" fmla="*/ 0 h 10833847"/>
              <a:gd name="connsiteX2" fmla="*/ 7658847 w 7658847"/>
              <a:gd name="connsiteY2" fmla="*/ 0 h 10833847"/>
              <a:gd name="connsiteX3" fmla="*/ 1524000 w 7658847"/>
              <a:gd name="connsiteY3" fmla="*/ 10833847 h 10833847"/>
              <a:gd name="connsiteX4" fmla="*/ 0 w 7658847"/>
              <a:gd name="connsiteY4" fmla="*/ 10833847 h 10833847"/>
              <a:gd name="connsiteX0" fmla="*/ 0 w 8519458"/>
              <a:gd name="connsiteY0" fmla="*/ 10833847 h 10833847"/>
              <a:gd name="connsiteX1" fmla="*/ 6064623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519458"/>
              <a:gd name="connsiteY0" fmla="*/ 10833847 h 10833847"/>
              <a:gd name="connsiteX1" fmla="*/ 7167281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344463"/>
              <a:gd name="connsiteY0" fmla="*/ 10845647 h 10845647"/>
              <a:gd name="connsiteX1" fmla="*/ 6992286 w 8344463"/>
              <a:gd name="connsiteY1" fmla="*/ 0 h 10845647"/>
              <a:gd name="connsiteX2" fmla="*/ 8344463 w 8344463"/>
              <a:gd name="connsiteY2" fmla="*/ 0 h 10845647"/>
              <a:gd name="connsiteX3" fmla="*/ 1349005 w 8344463"/>
              <a:gd name="connsiteY3" fmla="*/ 10833847 h 10845647"/>
              <a:gd name="connsiteX4" fmla="*/ 0 w 8344463"/>
              <a:gd name="connsiteY4" fmla="*/ 10845647 h 10845647"/>
              <a:gd name="connsiteX0" fmla="*/ 0 w 8344463"/>
              <a:gd name="connsiteY0" fmla="*/ 10845647 h 10845647"/>
              <a:gd name="connsiteX1" fmla="*/ 6992286 w 8344463"/>
              <a:gd name="connsiteY1" fmla="*/ 0 h 10845647"/>
              <a:gd name="connsiteX2" fmla="*/ 8344463 w 8344463"/>
              <a:gd name="connsiteY2" fmla="*/ 0 h 10845647"/>
              <a:gd name="connsiteX3" fmla="*/ 3179732 w 8344463"/>
              <a:gd name="connsiteY3" fmla="*/ 8013612 h 10845647"/>
              <a:gd name="connsiteX4" fmla="*/ 0 w 8344463"/>
              <a:gd name="connsiteY4" fmla="*/ 10845647 h 10845647"/>
              <a:gd name="connsiteX0" fmla="*/ 0 w 6527198"/>
              <a:gd name="connsiteY0" fmla="*/ 8025412 h 8025412"/>
              <a:gd name="connsiteX1" fmla="*/ 5175021 w 6527198"/>
              <a:gd name="connsiteY1" fmla="*/ 0 h 8025412"/>
              <a:gd name="connsiteX2" fmla="*/ 6527198 w 6527198"/>
              <a:gd name="connsiteY2" fmla="*/ 0 h 8025412"/>
              <a:gd name="connsiteX3" fmla="*/ 1362467 w 6527198"/>
              <a:gd name="connsiteY3" fmla="*/ 8013612 h 8025412"/>
              <a:gd name="connsiteX4" fmla="*/ 0 w 6527198"/>
              <a:gd name="connsiteY4" fmla="*/ 8025412 h 8025412"/>
              <a:gd name="connsiteX0" fmla="*/ 0 w 6486815"/>
              <a:gd name="connsiteY0" fmla="*/ 8001812 h 8013612"/>
              <a:gd name="connsiteX1" fmla="*/ 5134638 w 6486815"/>
              <a:gd name="connsiteY1" fmla="*/ 0 h 8013612"/>
              <a:gd name="connsiteX2" fmla="*/ 6486815 w 6486815"/>
              <a:gd name="connsiteY2" fmla="*/ 0 h 8013612"/>
              <a:gd name="connsiteX3" fmla="*/ 1322084 w 6486815"/>
              <a:gd name="connsiteY3" fmla="*/ 8013612 h 8013612"/>
              <a:gd name="connsiteX4" fmla="*/ 0 w 6486815"/>
              <a:gd name="connsiteY4" fmla="*/ 8001812 h 8013612"/>
              <a:gd name="connsiteX0" fmla="*/ 0 w 6513737"/>
              <a:gd name="connsiteY0" fmla="*/ 8001812 h 8013612"/>
              <a:gd name="connsiteX1" fmla="*/ 5161560 w 6513737"/>
              <a:gd name="connsiteY1" fmla="*/ 0 h 8013612"/>
              <a:gd name="connsiteX2" fmla="*/ 6513737 w 6513737"/>
              <a:gd name="connsiteY2" fmla="*/ 0 h 8013612"/>
              <a:gd name="connsiteX3" fmla="*/ 1349006 w 6513737"/>
              <a:gd name="connsiteY3" fmla="*/ 8013612 h 8013612"/>
              <a:gd name="connsiteX4" fmla="*/ 0 w 6513737"/>
              <a:gd name="connsiteY4" fmla="*/ 8001812 h 8013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13737" h="8013612">
                <a:moveTo>
                  <a:pt x="0" y="8001812"/>
                </a:moveTo>
                <a:lnTo>
                  <a:pt x="5161560" y="0"/>
                </a:lnTo>
                <a:lnTo>
                  <a:pt x="6513737" y="0"/>
                </a:lnTo>
                <a:lnTo>
                  <a:pt x="1349006" y="8013612"/>
                </a:lnTo>
                <a:lnTo>
                  <a:pt x="0" y="8001812"/>
                </a:lnTo>
                <a:close/>
              </a:path>
            </a:pathLst>
          </a:custGeom>
          <a:solidFill>
            <a:srgbClr val="045E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6" name="Parallelogram 3">
            <a:extLst>
              <a:ext uri="{FF2B5EF4-FFF2-40B4-BE49-F238E27FC236}">
                <a16:creationId xmlns:a16="http://schemas.microsoft.com/office/drawing/2014/main" id="{9FA4025D-F0B3-60B6-FC97-9342CBE9A94E}"/>
              </a:ext>
            </a:extLst>
          </p:cNvPr>
          <p:cNvSpPr/>
          <p:nvPr userDrawn="1"/>
        </p:nvSpPr>
        <p:spPr>
          <a:xfrm>
            <a:off x="8142316" y="1673903"/>
            <a:ext cx="2754283" cy="3489377"/>
          </a:xfrm>
          <a:custGeom>
            <a:avLst/>
            <a:gdLst>
              <a:gd name="connsiteX0" fmla="*/ 0 w 2032000"/>
              <a:gd name="connsiteY0" fmla="*/ 11811000 h 11811000"/>
              <a:gd name="connsiteX1" fmla="*/ 508000 w 2032000"/>
              <a:gd name="connsiteY1" fmla="*/ 0 h 11811000"/>
              <a:gd name="connsiteX2" fmla="*/ 2032000 w 2032000"/>
              <a:gd name="connsiteY2" fmla="*/ 0 h 11811000"/>
              <a:gd name="connsiteX3" fmla="*/ 1524000 w 2032000"/>
              <a:gd name="connsiteY3" fmla="*/ 11811000 h 11811000"/>
              <a:gd name="connsiteX4" fmla="*/ 0 w 2032000"/>
              <a:gd name="connsiteY4" fmla="*/ 11811000 h 11811000"/>
              <a:gd name="connsiteX0" fmla="*/ 0 w 7645400"/>
              <a:gd name="connsiteY0" fmla="*/ 11811000 h 11811000"/>
              <a:gd name="connsiteX1" fmla="*/ 508000 w 7645400"/>
              <a:gd name="connsiteY1" fmla="*/ 0 h 11811000"/>
              <a:gd name="connsiteX2" fmla="*/ 7645400 w 7645400"/>
              <a:gd name="connsiteY2" fmla="*/ 990600 h 11811000"/>
              <a:gd name="connsiteX3" fmla="*/ 1524000 w 7645400"/>
              <a:gd name="connsiteY3" fmla="*/ 11811000 h 11811000"/>
              <a:gd name="connsiteX4" fmla="*/ 0 w 7645400"/>
              <a:gd name="connsiteY4" fmla="*/ 11811000 h 11811000"/>
              <a:gd name="connsiteX0" fmla="*/ 0 w 7645400"/>
              <a:gd name="connsiteY0" fmla="*/ 10896600 h 10896600"/>
              <a:gd name="connsiteX1" fmla="*/ 5969000 w 7645400"/>
              <a:gd name="connsiteY1" fmla="*/ 0 h 10896600"/>
              <a:gd name="connsiteX2" fmla="*/ 7645400 w 7645400"/>
              <a:gd name="connsiteY2" fmla="*/ 76200 h 10896600"/>
              <a:gd name="connsiteX3" fmla="*/ 1524000 w 7645400"/>
              <a:gd name="connsiteY3" fmla="*/ 10896600 h 10896600"/>
              <a:gd name="connsiteX4" fmla="*/ 0 w 7645400"/>
              <a:gd name="connsiteY4" fmla="*/ 10896600 h 10896600"/>
              <a:gd name="connsiteX0" fmla="*/ 0 w 7645400"/>
              <a:gd name="connsiteY0" fmla="*/ 10820400 h 10820400"/>
              <a:gd name="connsiteX1" fmla="*/ 5943600 w 7645400"/>
              <a:gd name="connsiteY1" fmla="*/ 0 h 10820400"/>
              <a:gd name="connsiteX2" fmla="*/ 7645400 w 7645400"/>
              <a:gd name="connsiteY2" fmla="*/ 0 h 10820400"/>
              <a:gd name="connsiteX3" fmla="*/ 1524000 w 7645400"/>
              <a:gd name="connsiteY3" fmla="*/ 10820400 h 10820400"/>
              <a:gd name="connsiteX4" fmla="*/ 0 w 7645400"/>
              <a:gd name="connsiteY4" fmla="*/ 10820400 h 10820400"/>
              <a:gd name="connsiteX0" fmla="*/ 0 w 7645400"/>
              <a:gd name="connsiteY0" fmla="*/ 10833847 h 10833847"/>
              <a:gd name="connsiteX1" fmla="*/ 6064623 w 7645400"/>
              <a:gd name="connsiteY1" fmla="*/ 0 h 10833847"/>
              <a:gd name="connsiteX2" fmla="*/ 7645400 w 7645400"/>
              <a:gd name="connsiteY2" fmla="*/ 13447 h 10833847"/>
              <a:gd name="connsiteX3" fmla="*/ 1524000 w 7645400"/>
              <a:gd name="connsiteY3" fmla="*/ 10833847 h 10833847"/>
              <a:gd name="connsiteX4" fmla="*/ 0 w 7645400"/>
              <a:gd name="connsiteY4" fmla="*/ 10833847 h 10833847"/>
              <a:gd name="connsiteX0" fmla="*/ 0 w 7658847"/>
              <a:gd name="connsiteY0" fmla="*/ 10833847 h 10833847"/>
              <a:gd name="connsiteX1" fmla="*/ 6064623 w 7658847"/>
              <a:gd name="connsiteY1" fmla="*/ 0 h 10833847"/>
              <a:gd name="connsiteX2" fmla="*/ 7658847 w 7658847"/>
              <a:gd name="connsiteY2" fmla="*/ 0 h 10833847"/>
              <a:gd name="connsiteX3" fmla="*/ 1524000 w 7658847"/>
              <a:gd name="connsiteY3" fmla="*/ 10833847 h 10833847"/>
              <a:gd name="connsiteX4" fmla="*/ 0 w 7658847"/>
              <a:gd name="connsiteY4" fmla="*/ 10833847 h 10833847"/>
              <a:gd name="connsiteX0" fmla="*/ 0 w 8519458"/>
              <a:gd name="connsiteY0" fmla="*/ 10833847 h 10833847"/>
              <a:gd name="connsiteX1" fmla="*/ 6064623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519458"/>
              <a:gd name="connsiteY0" fmla="*/ 10833847 h 10833847"/>
              <a:gd name="connsiteX1" fmla="*/ 7167281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344463"/>
              <a:gd name="connsiteY0" fmla="*/ 10845647 h 10845647"/>
              <a:gd name="connsiteX1" fmla="*/ 6992286 w 8344463"/>
              <a:gd name="connsiteY1" fmla="*/ 0 h 10845647"/>
              <a:gd name="connsiteX2" fmla="*/ 8344463 w 8344463"/>
              <a:gd name="connsiteY2" fmla="*/ 0 h 10845647"/>
              <a:gd name="connsiteX3" fmla="*/ 1349005 w 8344463"/>
              <a:gd name="connsiteY3" fmla="*/ 10833847 h 10845647"/>
              <a:gd name="connsiteX4" fmla="*/ 0 w 8344463"/>
              <a:gd name="connsiteY4" fmla="*/ 10845647 h 10845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44463" h="10845647">
                <a:moveTo>
                  <a:pt x="0" y="10845647"/>
                </a:moveTo>
                <a:lnTo>
                  <a:pt x="6992286" y="0"/>
                </a:lnTo>
                <a:lnTo>
                  <a:pt x="8344463" y="0"/>
                </a:lnTo>
                <a:lnTo>
                  <a:pt x="1349005" y="10833847"/>
                </a:lnTo>
                <a:lnTo>
                  <a:pt x="0" y="10845647"/>
                </a:lnTo>
                <a:close/>
              </a:path>
            </a:pathLst>
          </a:custGeom>
          <a:solidFill>
            <a:srgbClr val="03A0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962552C0-E425-5C96-2B21-9D81F6B64B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8245" y="2976007"/>
            <a:ext cx="9195508" cy="905987"/>
          </a:xfrm>
          <a:prstGeom prst="rect">
            <a:avLst/>
          </a:prstGeom>
          <a:noFill/>
        </p:spPr>
        <p:txBody>
          <a:bodyPr lIns="0" rIns="0" anchor="ctr"/>
          <a:lstStyle>
            <a:lvl1pPr marL="0"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US" dirty="0"/>
              <a:t>Click to edit slide divider heade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AD21E9A-37F8-863A-C4FF-C40E6E0F0CB1}"/>
              </a:ext>
            </a:extLst>
          </p:cNvPr>
          <p:cNvSpPr txBox="1"/>
          <p:nvPr userDrawn="1"/>
        </p:nvSpPr>
        <p:spPr>
          <a:xfrm>
            <a:off x="161304" y="6673899"/>
            <a:ext cx="62308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 dirty="0">
                <a:solidFill>
                  <a:srgbClr val="54596A"/>
                </a:solidFill>
              </a:rPr>
              <a:t>© 2023 </a:t>
            </a:r>
            <a:r>
              <a:rPr lang="en-US" sz="800" dirty="0" err="1">
                <a:solidFill>
                  <a:srgbClr val="54596A"/>
                </a:solidFill>
              </a:rPr>
              <a:t>TPx</a:t>
            </a:r>
            <a:r>
              <a:rPr lang="en-US" sz="800" dirty="0">
                <a:solidFill>
                  <a:srgbClr val="54596A"/>
                </a:solidFill>
              </a:rPr>
              <a:t> Communications. Confidential Information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7075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 Slid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CC8F347-128E-B23F-4C6B-B0C8965B94A5}"/>
              </a:ext>
            </a:extLst>
          </p:cNvPr>
          <p:cNvSpPr/>
          <p:nvPr userDrawn="1"/>
        </p:nvSpPr>
        <p:spPr>
          <a:xfrm>
            <a:off x="0" y="1673903"/>
            <a:ext cx="10473764" cy="3489377"/>
          </a:xfrm>
          <a:custGeom>
            <a:avLst/>
            <a:gdLst>
              <a:gd name="connsiteX0" fmla="*/ 0 w 18852776"/>
              <a:gd name="connsiteY0" fmla="*/ 0 h 6280878"/>
              <a:gd name="connsiteX1" fmla="*/ 18852776 w 18852776"/>
              <a:gd name="connsiteY1" fmla="*/ 0 h 6280878"/>
              <a:gd name="connsiteX2" fmla="*/ 18852776 w 18852776"/>
              <a:gd name="connsiteY2" fmla="*/ 6280878 h 6280878"/>
              <a:gd name="connsiteX3" fmla="*/ 0 w 18852776"/>
              <a:gd name="connsiteY3" fmla="*/ 6280878 h 6280878"/>
              <a:gd name="connsiteX4" fmla="*/ 0 w 18852776"/>
              <a:gd name="connsiteY4" fmla="*/ 0 h 6280878"/>
              <a:gd name="connsiteX0" fmla="*/ 0 w 18852776"/>
              <a:gd name="connsiteY0" fmla="*/ 0 h 6280878"/>
              <a:gd name="connsiteX1" fmla="*/ 18852776 w 18852776"/>
              <a:gd name="connsiteY1" fmla="*/ 0 h 6280878"/>
              <a:gd name="connsiteX2" fmla="*/ 15087600 w 18852776"/>
              <a:gd name="connsiteY2" fmla="*/ 6280878 h 6280878"/>
              <a:gd name="connsiteX3" fmla="*/ 0 w 18852776"/>
              <a:gd name="connsiteY3" fmla="*/ 6280878 h 6280878"/>
              <a:gd name="connsiteX4" fmla="*/ 0 w 18852776"/>
              <a:gd name="connsiteY4" fmla="*/ 0 h 62808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852776" h="6280878">
                <a:moveTo>
                  <a:pt x="0" y="0"/>
                </a:moveTo>
                <a:lnTo>
                  <a:pt x="18852776" y="0"/>
                </a:lnTo>
                <a:lnTo>
                  <a:pt x="15087600" y="6280878"/>
                </a:lnTo>
                <a:lnTo>
                  <a:pt x="0" y="6280878"/>
                </a:lnTo>
                <a:lnTo>
                  <a:pt x="0" y="0"/>
                </a:lnTo>
                <a:close/>
              </a:path>
            </a:pathLst>
          </a:custGeom>
          <a:solidFill>
            <a:srgbClr val="40404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" name="Parallelogram 3">
            <a:extLst>
              <a:ext uri="{FF2B5EF4-FFF2-40B4-BE49-F238E27FC236}">
                <a16:creationId xmlns:a16="http://schemas.microsoft.com/office/drawing/2014/main" id="{89A12302-985F-B105-D352-22E1D9E71368}"/>
              </a:ext>
            </a:extLst>
          </p:cNvPr>
          <p:cNvSpPr/>
          <p:nvPr userDrawn="1"/>
        </p:nvSpPr>
        <p:spPr>
          <a:xfrm>
            <a:off x="10072635" y="1673903"/>
            <a:ext cx="1647929" cy="1807541"/>
          </a:xfrm>
          <a:custGeom>
            <a:avLst/>
            <a:gdLst>
              <a:gd name="connsiteX0" fmla="*/ 0 w 2032000"/>
              <a:gd name="connsiteY0" fmla="*/ 11811000 h 11811000"/>
              <a:gd name="connsiteX1" fmla="*/ 508000 w 2032000"/>
              <a:gd name="connsiteY1" fmla="*/ 0 h 11811000"/>
              <a:gd name="connsiteX2" fmla="*/ 2032000 w 2032000"/>
              <a:gd name="connsiteY2" fmla="*/ 0 h 11811000"/>
              <a:gd name="connsiteX3" fmla="*/ 1524000 w 2032000"/>
              <a:gd name="connsiteY3" fmla="*/ 11811000 h 11811000"/>
              <a:gd name="connsiteX4" fmla="*/ 0 w 2032000"/>
              <a:gd name="connsiteY4" fmla="*/ 11811000 h 11811000"/>
              <a:gd name="connsiteX0" fmla="*/ 0 w 7645400"/>
              <a:gd name="connsiteY0" fmla="*/ 11811000 h 11811000"/>
              <a:gd name="connsiteX1" fmla="*/ 508000 w 7645400"/>
              <a:gd name="connsiteY1" fmla="*/ 0 h 11811000"/>
              <a:gd name="connsiteX2" fmla="*/ 7645400 w 7645400"/>
              <a:gd name="connsiteY2" fmla="*/ 990600 h 11811000"/>
              <a:gd name="connsiteX3" fmla="*/ 1524000 w 7645400"/>
              <a:gd name="connsiteY3" fmla="*/ 11811000 h 11811000"/>
              <a:gd name="connsiteX4" fmla="*/ 0 w 7645400"/>
              <a:gd name="connsiteY4" fmla="*/ 11811000 h 11811000"/>
              <a:gd name="connsiteX0" fmla="*/ 0 w 7645400"/>
              <a:gd name="connsiteY0" fmla="*/ 10896600 h 10896600"/>
              <a:gd name="connsiteX1" fmla="*/ 5969000 w 7645400"/>
              <a:gd name="connsiteY1" fmla="*/ 0 h 10896600"/>
              <a:gd name="connsiteX2" fmla="*/ 7645400 w 7645400"/>
              <a:gd name="connsiteY2" fmla="*/ 76200 h 10896600"/>
              <a:gd name="connsiteX3" fmla="*/ 1524000 w 7645400"/>
              <a:gd name="connsiteY3" fmla="*/ 10896600 h 10896600"/>
              <a:gd name="connsiteX4" fmla="*/ 0 w 7645400"/>
              <a:gd name="connsiteY4" fmla="*/ 10896600 h 10896600"/>
              <a:gd name="connsiteX0" fmla="*/ 0 w 7645400"/>
              <a:gd name="connsiteY0" fmla="*/ 10820400 h 10820400"/>
              <a:gd name="connsiteX1" fmla="*/ 5943600 w 7645400"/>
              <a:gd name="connsiteY1" fmla="*/ 0 h 10820400"/>
              <a:gd name="connsiteX2" fmla="*/ 7645400 w 7645400"/>
              <a:gd name="connsiteY2" fmla="*/ 0 h 10820400"/>
              <a:gd name="connsiteX3" fmla="*/ 1524000 w 7645400"/>
              <a:gd name="connsiteY3" fmla="*/ 10820400 h 10820400"/>
              <a:gd name="connsiteX4" fmla="*/ 0 w 7645400"/>
              <a:gd name="connsiteY4" fmla="*/ 10820400 h 10820400"/>
              <a:gd name="connsiteX0" fmla="*/ 0 w 7645400"/>
              <a:gd name="connsiteY0" fmla="*/ 10833847 h 10833847"/>
              <a:gd name="connsiteX1" fmla="*/ 6064623 w 7645400"/>
              <a:gd name="connsiteY1" fmla="*/ 0 h 10833847"/>
              <a:gd name="connsiteX2" fmla="*/ 7645400 w 7645400"/>
              <a:gd name="connsiteY2" fmla="*/ 13447 h 10833847"/>
              <a:gd name="connsiteX3" fmla="*/ 1524000 w 7645400"/>
              <a:gd name="connsiteY3" fmla="*/ 10833847 h 10833847"/>
              <a:gd name="connsiteX4" fmla="*/ 0 w 7645400"/>
              <a:gd name="connsiteY4" fmla="*/ 10833847 h 10833847"/>
              <a:gd name="connsiteX0" fmla="*/ 0 w 7658847"/>
              <a:gd name="connsiteY0" fmla="*/ 10833847 h 10833847"/>
              <a:gd name="connsiteX1" fmla="*/ 6064623 w 7658847"/>
              <a:gd name="connsiteY1" fmla="*/ 0 h 10833847"/>
              <a:gd name="connsiteX2" fmla="*/ 7658847 w 7658847"/>
              <a:gd name="connsiteY2" fmla="*/ 0 h 10833847"/>
              <a:gd name="connsiteX3" fmla="*/ 1524000 w 7658847"/>
              <a:gd name="connsiteY3" fmla="*/ 10833847 h 10833847"/>
              <a:gd name="connsiteX4" fmla="*/ 0 w 7658847"/>
              <a:gd name="connsiteY4" fmla="*/ 10833847 h 10833847"/>
              <a:gd name="connsiteX0" fmla="*/ 0 w 8519458"/>
              <a:gd name="connsiteY0" fmla="*/ 10833847 h 10833847"/>
              <a:gd name="connsiteX1" fmla="*/ 6064623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519458"/>
              <a:gd name="connsiteY0" fmla="*/ 10833847 h 10833847"/>
              <a:gd name="connsiteX1" fmla="*/ 7167281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344463"/>
              <a:gd name="connsiteY0" fmla="*/ 10845647 h 10845647"/>
              <a:gd name="connsiteX1" fmla="*/ 6992286 w 8344463"/>
              <a:gd name="connsiteY1" fmla="*/ 0 h 10845647"/>
              <a:gd name="connsiteX2" fmla="*/ 8344463 w 8344463"/>
              <a:gd name="connsiteY2" fmla="*/ 0 h 10845647"/>
              <a:gd name="connsiteX3" fmla="*/ 1349005 w 8344463"/>
              <a:gd name="connsiteY3" fmla="*/ 10833847 h 10845647"/>
              <a:gd name="connsiteX4" fmla="*/ 0 w 8344463"/>
              <a:gd name="connsiteY4" fmla="*/ 10845647 h 10845647"/>
              <a:gd name="connsiteX0" fmla="*/ 0 w 8344463"/>
              <a:gd name="connsiteY0" fmla="*/ 10845647 h 10845647"/>
              <a:gd name="connsiteX1" fmla="*/ 6992286 w 8344463"/>
              <a:gd name="connsiteY1" fmla="*/ 0 h 10845647"/>
              <a:gd name="connsiteX2" fmla="*/ 8344463 w 8344463"/>
              <a:gd name="connsiteY2" fmla="*/ 0 h 10845647"/>
              <a:gd name="connsiteX3" fmla="*/ 3179732 w 8344463"/>
              <a:gd name="connsiteY3" fmla="*/ 8013612 h 10845647"/>
              <a:gd name="connsiteX4" fmla="*/ 0 w 8344463"/>
              <a:gd name="connsiteY4" fmla="*/ 10845647 h 10845647"/>
              <a:gd name="connsiteX0" fmla="*/ 0 w 6527198"/>
              <a:gd name="connsiteY0" fmla="*/ 8025412 h 8025412"/>
              <a:gd name="connsiteX1" fmla="*/ 5175021 w 6527198"/>
              <a:gd name="connsiteY1" fmla="*/ 0 h 8025412"/>
              <a:gd name="connsiteX2" fmla="*/ 6527198 w 6527198"/>
              <a:gd name="connsiteY2" fmla="*/ 0 h 8025412"/>
              <a:gd name="connsiteX3" fmla="*/ 1362467 w 6527198"/>
              <a:gd name="connsiteY3" fmla="*/ 8013612 h 8025412"/>
              <a:gd name="connsiteX4" fmla="*/ 0 w 6527198"/>
              <a:gd name="connsiteY4" fmla="*/ 8025412 h 8025412"/>
              <a:gd name="connsiteX0" fmla="*/ 0 w 6486815"/>
              <a:gd name="connsiteY0" fmla="*/ 8001812 h 8013612"/>
              <a:gd name="connsiteX1" fmla="*/ 5134638 w 6486815"/>
              <a:gd name="connsiteY1" fmla="*/ 0 h 8013612"/>
              <a:gd name="connsiteX2" fmla="*/ 6486815 w 6486815"/>
              <a:gd name="connsiteY2" fmla="*/ 0 h 8013612"/>
              <a:gd name="connsiteX3" fmla="*/ 1322084 w 6486815"/>
              <a:gd name="connsiteY3" fmla="*/ 8013612 h 8013612"/>
              <a:gd name="connsiteX4" fmla="*/ 0 w 6486815"/>
              <a:gd name="connsiteY4" fmla="*/ 8001812 h 8013612"/>
              <a:gd name="connsiteX0" fmla="*/ 0 w 6513737"/>
              <a:gd name="connsiteY0" fmla="*/ 8001812 h 8013612"/>
              <a:gd name="connsiteX1" fmla="*/ 5161560 w 6513737"/>
              <a:gd name="connsiteY1" fmla="*/ 0 h 8013612"/>
              <a:gd name="connsiteX2" fmla="*/ 6513737 w 6513737"/>
              <a:gd name="connsiteY2" fmla="*/ 0 h 8013612"/>
              <a:gd name="connsiteX3" fmla="*/ 1349006 w 6513737"/>
              <a:gd name="connsiteY3" fmla="*/ 8013612 h 8013612"/>
              <a:gd name="connsiteX4" fmla="*/ 0 w 6513737"/>
              <a:gd name="connsiteY4" fmla="*/ 8001812 h 8013612"/>
              <a:gd name="connsiteX0" fmla="*/ 0 w 6513737"/>
              <a:gd name="connsiteY0" fmla="*/ 8001812 h 8001812"/>
              <a:gd name="connsiteX1" fmla="*/ 5161560 w 6513737"/>
              <a:gd name="connsiteY1" fmla="*/ 0 h 8001812"/>
              <a:gd name="connsiteX2" fmla="*/ 6513737 w 6513737"/>
              <a:gd name="connsiteY2" fmla="*/ 0 h 8001812"/>
              <a:gd name="connsiteX3" fmla="*/ 2897047 w 6513737"/>
              <a:gd name="connsiteY3" fmla="*/ 5606382 h 8001812"/>
              <a:gd name="connsiteX4" fmla="*/ 0 w 6513737"/>
              <a:gd name="connsiteY4" fmla="*/ 8001812 h 8001812"/>
              <a:gd name="connsiteX0" fmla="*/ 0 w 4952235"/>
              <a:gd name="connsiteY0" fmla="*/ 5594582 h 5606382"/>
              <a:gd name="connsiteX1" fmla="*/ 3600058 w 4952235"/>
              <a:gd name="connsiteY1" fmla="*/ 0 h 5606382"/>
              <a:gd name="connsiteX2" fmla="*/ 4952235 w 4952235"/>
              <a:gd name="connsiteY2" fmla="*/ 0 h 5606382"/>
              <a:gd name="connsiteX3" fmla="*/ 1335545 w 4952235"/>
              <a:gd name="connsiteY3" fmla="*/ 5606382 h 5606382"/>
              <a:gd name="connsiteX4" fmla="*/ 0 w 4952235"/>
              <a:gd name="connsiteY4" fmla="*/ 5594582 h 5606382"/>
              <a:gd name="connsiteX0" fmla="*/ 0 w 4992618"/>
              <a:gd name="connsiteY0" fmla="*/ 5618182 h 5618182"/>
              <a:gd name="connsiteX1" fmla="*/ 3640441 w 4992618"/>
              <a:gd name="connsiteY1" fmla="*/ 0 h 5618182"/>
              <a:gd name="connsiteX2" fmla="*/ 4992618 w 4992618"/>
              <a:gd name="connsiteY2" fmla="*/ 0 h 5618182"/>
              <a:gd name="connsiteX3" fmla="*/ 1375928 w 4992618"/>
              <a:gd name="connsiteY3" fmla="*/ 5606382 h 5618182"/>
              <a:gd name="connsiteX4" fmla="*/ 0 w 4992618"/>
              <a:gd name="connsiteY4" fmla="*/ 5618182 h 5618182"/>
              <a:gd name="connsiteX0" fmla="*/ 0 w 4992618"/>
              <a:gd name="connsiteY0" fmla="*/ 5618182 h 5618182"/>
              <a:gd name="connsiteX1" fmla="*/ 3592264 w 4992618"/>
              <a:gd name="connsiteY1" fmla="*/ 0 h 5618182"/>
              <a:gd name="connsiteX2" fmla="*/ 4992618 w 4992618"/>
              <a:gd name="connsiteY2" fmla="*/ 0 h 5618182"/>
              <a:gd name="connsiteX3" fmla="*/ 1375928 w 4992618"/>
              <a:gd name="connsiteY3" fmla="*/ 5606382 h 5618182"/>
              <a:gd name="connsiteX4" fmla="*/ 0 w 4992618"/>
              <a:gd name="connsiteY4" fmla="*/ 5618182 h 5618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92618" h="5618182">
                <a:moveTo>
                  <a:pt x="0" y="5618182"/>
                </a:moveTo>
                <a:lnTo>
                  <a:pt x="3592264" y="0"/>
                </a:lnTo>
                <a:lnTo>
                  <a:pt x="4992618" y="0"/>
                </a:lnTo>
                <a:lnTo>
                  <a:pt x="1375928" y="5606382"/>
                </a:lnTo>
                <a:lnTo>
                  <a:pt x="0" y="5618182"/>
                </a:lnTo>
                <a:close/>
              </a:path>
            </a:pathLst>
          </a:custGeom>
          <a:solidFill>
            <a:srgbClr val="6FC0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" name="Parallelogram 3">
            <a:extLst>
              <a:ext uri="{FF2B5EF4-FFF2-40B4-BE49-F238E27FC236}">
                <a16:creationId xmlns:a16="http://schemas.microsoft.com/office/drawing/2014/main" id="{2C4EC3DD-CDE1-7964-130F-17A7116F187A}"/>
              </a:ext>
            </a:extLst>
          </p:cNvPr>
          <p:cNvSpPr/>
          <p:nvPr userDrawn="1"/>
        </p:nvSpPr>
        <p:spPr>
          <a:xfrm>
            <a:off x="9151327" y="1673903"/>
            <a:ext cx="2150010" cy="2578224"/>
          </a:xfrm>
          <a:custGeom>
            <a:avLst/>
            <a:gdLst>
              <a:gd name="connsiteX0" fmla="*/ 0 w 2032000"/>
              <a:gd name="connsiteY0" fmla="*/ 11811000 h 11811000"/>
              <a:gd name="connsiteX1" fmla="*/ 508000 w 2032000"/>
              <a:gd name="connsiteY1" fmla="*/ 0 h 11811000"/>
              <a:gd name="connsiteX2" fmla="*/ 2032000 w 2032000"/>
              <a:gd name="connsiteY2" fmla="*/ 0 h 11811000"/>
              <a:gd name="connsiteX3" fmla="*/ 1524000 w 2032000"/>
              <a:gd name="connsiteY3" fmla="*/ 11811000 h 11811000"/>
              <a:gd name="connsiteX4" fmla="*/ 0 w 2032000"/>
              <a:gd name="connsiteY4" fmla="*/ 11811000 h 11811000"/>
              <a:gd name="connsiteX0" fmla="*/ 0 w 7645400"/>
              <a:gd name="connsiteY0" fmla="*/ 11811000 h 11811000"/>
              <a:gd name="connsiteX1" fmla="*/ 508000 w 7645400"/>
              <a:gd name="connsiteY1" fmla="*/ 0 h 11811000"/>
              <a:gd name="connsiteX2" fmla="*/ 7645400 w 7645400"/>
              <a:gd name="connsiteY2" fmla="*/ 990600 h 11811000"/>
              <a:gd name="connsiteX3" fmla="*/ 1524000 w 7645400"/>
              <a:gd name="connsiteY3" fmla="*/ 11811000 h 11811000"/>
              <a:gd name="connsiteX4" fmla="*/ 0 w 7645400"/>
              <a:gd name="connsiteY4" fmla="*/ 11811000 h 11811000"/>
              <a:gd name="connsiteX0" fmla="*/ 0 w 7645400"/>
              <a:gd name="connsiteY0" fmla="*/ 10896600 h 10896600"/>
              <a:gd name="connsiteX1" fmla="*/ 5969000 w 7645400"/>
              <a:gd name="connsiteY1" fmla="*/ 0 h 10896600"/>
              <a:gd name="connsiteX2" fmla="*/ 7645400 w 7645400"/>
              <a:gd name="connsiteY2" fmla="*/ 76200 h 10896600"/>
              <a:gd name="connsiteX3" fmla="*/ 1524000 w 7645400"/>
              <a:gd name="connsiteY3" fmla="*/ 10896600 h 10896600"/>
              <a:gd name="connsiteX4" fmla="*/ 0 w 7645400"/>
              <a:gd name="connsiteY4" fmla="*/ 10896600 h 10896600"/>
              <a:gd name="connsiteX0" fmla="*/ 0 w 7645400"/>
              <a:gd name="connsiteY0" fmla="*/ 10820400 h 10820400"/>
              <a:gd name="connsiteX1" fmla="*/ 5943600 w 7645400"/>
              <a:gd name="connsiteY1" fmla="*/ 0 h 10820400"/>
              <a:gd name="connsiteX2" fmla="*/ 7645400 w 7645400"/>
              <a:gd name="connsiteY2" fmla="*/ 0 h 10820400"/>
              <a:gd name="connsiteX3" fmla="*/ 1524000 w 7645400"/>
              <a:gd name="connsiteY3" fmla="*/ 10820400 h 10820400"/>
              <a:gd name="connsiteX4" fmla="*/ 0 w 7645400"/>
              <a:gd name="connsiteY4" fmla="*/ 10820400 h 10820400"/>
              <a:gd name="connsiteX0" fmla="*/ 0 w 7645400"/>
              <a:gd name="connsiteY0" fmla="*/ 10833847 h 10833847"/>
              <a:gd name="connsiteX1" fmla="*/ 6064623 w 7645400"/>
              <a:gd name="connsiteY1" fmla="*/ 0 h 10833847"/>
              <a:gd name="connsiteX2" fmla="*/ 7645400 w 7645400"/>
              <a:gd name="connsiteY2" fmla="*/ 13447 h 10833847"/>
              <a:gd name="connsiteX3" fmla="*/ 1524000 w 7645400"/>
              <a:gd name="connsiteY3" fmla="*/ 10833847 h 10833847"/>
              <a:gd name="connsiteX4" fmla="*/ 0 w 7645400"/>
              <a:gd name="connsiteY4" fmla="*/ 10833847 h 10833847"/>
              <a:gd name="connsiteX0" fmla="*/ 0 w 7658847"/>
              <a:gd name="connsiteY0" fmla="*/ 10833847 h 10833847"/>
              <a:gd name="connsiteX1" fmla="*/ 6064623 w 7658847"/>
              <a:gd name="connsiteY1" fmla="*/ 0 h 10833847"/>
              <a:gd name="connsiteX2" fmla="*/ 7658847 w 7658847"/>
              <a:gd name="connsiteY2" fmla="*/ 0 h 10833847"/>
              <a:gd name="connsiteX3" fmla="*/ 1524000 w 7658847"/>
              <a:gd name="connsiteY3" fmla="*/ 10833847 h 10833847"/>
              <a:gd name="connsiteX4" fmla="*/ 0 w 7658847"/>
              <a:gd name="connsiteY4" fmla="*/ 10833847 h 10833847"/>
              <a:gd name="connsiteX0" fmla="*/ 0 w 8519458"/>
              <a:gd name="connsiteY0" fmla="*/ 10833847 h 10833847"/>
              <a:gd name="connsiteX1" fmla="*/ 6064623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519458"/>
              <a:gd name="connsiteY0" fmla="*/ 10833847 h 10833847"/>
              <a:gd name="connsiteX1" fmla="*/ 7167281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344463"/>
              <a:gd name="connsiteY0" fmla="*/ 10845647 h 10845647"/>
              <a:gd name="connsiteX1" fmla="*/ 6992286 w 8344463"/>
              <a:gd name="connsiteY1" fmla="*/ 0 h 10845647"/>
              <a:gd name="connsiteX2" fmla="*/ 8344463 w 8344463"/>
              <a:gd name="connsiteY2" fmla="*/ 0 h 10845647"/>
              <a:gd name="connsiteX3" fmla="*/ 1349005 w 8344463"/>
              <a:gd name="connsiteY3" fmla="*/ 10833847 h 10845647"/>
              <a:gd name="connsiteX4" fmla="*/ 0 w 8344463"/>
              <a:gd name="connsiteY4" fmla="*/ 10845647 h 10845647"/>
              <a:gd name="connsiteX0" fmla="*/ 0 w 8344463"/>
              <a:gd name="connsiteY0" fmla="*/ 10845647 h 10845647"/>
              <a:gd name="connsiteX1" fmla="*/ 6992286 w 8344463"/>
              <a:gd name="connsiteY1" fmla="*/ 0 h 10845647"/>
              <a:gd name="connsiteX2" fmla="*/ 8344463 w 8344463"/>
              <a:gd name="connsiteY2" fmla="*/ 0 h 10845647"/>
              <a:gd name="connsiteX3" fmla="*/ 3179732 w 8344463"/>
              <a:gd name="connsiteY3" fmla="*/ 8013612 h 10845647"/>
              <a:gd name="connsiteX4" fmla="*/ 0 w 8344463"/>
              <a:gd name="connsiteY4" fmla="*/ 10845647 h 10845647"/>
              <a:gd name="connsiteX0" fmla="*/ 0 w 6527198"/>
              <a:gd name="connsiteY0" fmla="*/ 8025412 h 8025412"/>
              <a:gd name="connsiteX1" fmla="*/ 5175021 w 6527198"/>
              <a:gd name="connsiteY1" fmla="*/ 0 h 8025412"/>
              <a:gd name="connsiteX2" fmla="*/ 6527198 w 6527198"/>
              <a:gd name="connsiteY2" fmla="*/ 0 h 8025412"/>
              <a:gd name="connsiteX3" fmla="*/ 1362467 w 6527198"/>
              <a:gd name="connsiteY3" fmla="*/ 8013612 h 8025412"/>
              <a:gd name="connsiteX4" fmla="*/ 0 w 6527198"/>
              <a:gd name="connsiteY4" fmla="*/ 8025412 h 8025412"/>
              <a:gd name="connsiteX0" fmla="*/ 0 w 6486815"/>
              <a:gd name="connsiteY0" fmla="*/ 8001812 h 8013612"/>
              <a:gd name="connsiteX1" fmla="*/ 5134638 w 6486815"/>
              <a:gd name="connsiteY1" fmla="*/ 0 h 8013612"/>
              <a:gd name="connsiteX2" fmla="*/ 6486815 w 6486815"/>
              <a:gd name="connsiteY2" fmla="*/ 0 h 8013612"/>
              <a:gd name="connsiteX3" fmla="*/ 1322084 w 6486815"/>
              <a:gd name="connsiteY3" fmla="*/ 8013612 h 8013612"/>
              <a:gd name="connsiteX4" fmla="*/ 0 w 6486815"/>
              <a:gd name="connsiteY4" fmla="*/ 8001812 h 8013612"/>
              <a:gd name="connsiteX0" fmla="*/ 0 w 6513737"/>
              <a:gd name="connsiteY0" fmla="*/ 8001812 h 8013612"/>
              <a:gd name="connsiteX1" fmla="*/ 5161560 w 6513737"/>
              <a:gd name="connsiteY1" fmla="*/ 0 h 8013612"/>
              <a:gd name="connsiteX2" fmla="*/ 6513737 w 6513737"/>
              <a:gd name="connsiteY2" fmla="*/ 0 h 8013612"/>
              <a:gd name="connsiteX3" fmla="*/ 1349006 w 6513737"/>
              <a:gd name="connsiteY3" fmla="*/ 8013612 h 8013612"/>
              <a:gd name="connsiteX4" fmla="*/ 0 w 6513737"/>
              <a:gd name="connsiteY4" fmla="*/ 8001812 h 8013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13737" h="8013612">
                <a:moveTo>
                  <a:pt x="0" y="8001812"/>
                </a:moveTo>
                <a:lnTo>
                  <a:pt x="5161560" y="0"/>
                </a:lnTo>
                <a:lnTo>
                  <a:pt x="6513737" y="0"/>
                </a:lnTo>
                <a:lnTo>
                  <a:pt x="1349006" y="8013612"/>
                </a:lnTo>
                <a:lnTo>
                  <a:pt x="0" y="8001812"/>
                </a:lnTo>
                <a:close/>
              </a:path>
            </a:pathLst>
          </a:custGeom>
          <a:solidFill>
            <a:srgbClr val="007A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" name="Parallelogram 3">
            <a:extLst>
              <a:ext uri="{FF2B5EF4-FFF2-40B4-BE49-F238E27FC236}">
                <a16:creationId xmlns:a16="http://schemas.microsoft.com/office/drawing/2014/main" id="{C7044782-2D40-C5E6-BDF8-CCD7DE12298A}"/>
              </a:ext>
            </a:extLst>
          </p:cNvPr>
          <p:cNvSpPr/>
          <p:nvPr userDrawn="1"/>
        </p:nvSpPr>
        <p:spPr>
          <a:xfrm>
            <a:off x="8142316" y="1673903"/>
            <a:ext cx="2754283" cy="3489377"/>
          </a:xfrm>
          <a:custGeom>
            <a:avLst/>
            <a:gdLst>
              <a:gd name="connsiteX0" fmla="*/ 0 w 2032000"/>
              <a:gd name="connsiteY0" fmla="*/ 11811000 h 11811000"/>
              <a:gd name="connsiteX1" fmla="*/ 508000 w 2032000"/>
              <a:gd name="connsiteY1" fmla="*/ 0 h 11811000"/>
              <a:gd name="connsiteX2" fmla="*/ 2032000 w 2032000"/>
              <a:gd name="connsiteY2" fmla="*/ 0 h 11811000"/>
              <a:gd name="connsiteX3" fmla="*/ 1524000 w 2032000"/>
              <a:gd name="connsiteY3" fmla="*/ 11811000 h 11811000"/>
              <a:gd name="connsiteX4" fmla="*/ 0 w 2032000"/>
              <a:gd name="connsiteY4" fmla="*/ 11811000 h 11811000"/>
              <a:gd name="connsiteX0" fmla="*/ 0 w 7645400"/>
              <a:gd name="connsiteY0" fmla="*/ 11811000 h 11811000"/>
              <a:gd name="connsiteX1" fmla="*/ 508000 w 7645400"/>
              <a:gd name="connsiteY1" fmla="*/ 0 h 11811000"/>
              <a:gd name="connsiteX2" fmla="*/ 7645400 w 7645400"/>
              <a:gd name="connsiteY2" fmla="*/ 990600 h 11811000"/>
              <a:gd name="connsiteX3" fmla="*/ 1524000 w 7645400"/>
              <a:gd name="connsiteY3" fmla="*/ 11811000 h 11811000"/>
              <a:gd name="connsiteX4" fmla="*/ 0 w 7645400"/>
              <a:gd name="connsiteY4" fmla="*/ 11811000 h 11811000"/>
              <a:gd name="connsiteX0" fmla="*/ 0 w 7645400"/>
              <a:gd name="connsiteY0" fmla="*/ 10896600 h 10896600"/>
              <a:gd name="connsiteX1" fmla="*/ 5969000 w 7645400"/>
              <a:gd name="connsiteY1" fmla="*/ 0 h 10896600"/>
              <a:gd name="connsiteX2" fmla="*/ 7645400 w 7645400"/>
              <a:gd name="connsiteY2" fmla="*/ 76200 h 10896600"/>
              <a:gd name="connsiteX3" fmla="*/ 1524000 w 7645400"/>
              <a:gd name="connsiteY3" fmla="*/ 10896600 h 10896600"/>
              <a:gd name="connsiteX4" fmla="*/ 0 w 7645400"/>
              <a:gd name="connsiteY4" fmla="*/ 10896600 h 10896600"/>
              <a:gd name="connsiteX0" fmla="*/ 0 w 7645400"/>
              <a:gd name="connsiteY0" fmla="*/ 10820400 h 10820400"/>
              <a:gd name="connsiteX1" fmla="*/ 5943600 w 7645400"/>
              <a:gd name="connsiteY1" fmla="*/ 0 h 10820400"/>
              <a:gd name="connsiteX2" fmla="*/ 7645400 w 7645400"/>
              <a:gd name="connsiteY2" fmla="*/ 0 h 10820400"/>
              <a:gd name="connsiteX3" fmla="*/ 1524000 w 7645400"/>
              <a:gd name="connsiteY3" fmla="*/ 10820400 h 10820400"/>
              <a:gd name="connsiteX4" fmla="*/ 0 w 7645400"/>
              <a:gd name="connsiteY4" fmla="*/ 10820400 h 10820400"/>
              <a:gd name="connsiteX0" fmla="*/ 0 w 7645400"/>
              <a:gd name="connsiteY0" fmla="*/ 10833847 h 10833847"/>
              <a:gd name="connsiteX1" fmla="*/ 6064623 w 7645400"/>
              <a:gd name="connsiteY1" fmla="*/ 0 h 10833847"/>
              <a:gd name="connsiteX2" fmla="*/ 7645400 w 7645400"/>
              <a:gd name="connsiteY2" fmla="*/ 13447 h 10833847"/>
              <a:gd name="connsiteX3" fmla="*/ 1524000 w 7645400"/>
              <a:gd name="connsiteY3" fmla="*/ 10833847 h 10833847"/>
              <a:gd name="connsiteX4" fmla="*/ 0 w 7645400"/>
              <a:gd name="connsiteY4" fmla="*/ 10833847 h 10833847"/>
              <a:gd name="connsiteX0" fmla="*/ 0 w 7658847"/>
              <a:gd name="connsiteY0" fmla="*/ 10833847 h 10833847"/>
              <a:gd name="connsiteX1" fmla="*/ 6064623 w 7658847"/>
              <a:gd name="connsiteY1" fmla="*/ 0 h 10833847"/>
              <a:gd name="connsiteX2" fmla="*/ 7658847 w 7658847"/>
              <a:gd name="connsiteY2" fmla="*/ 0 h 10833847"/>
              <a:gd name="connsiteX3" fmla="*/ 1524000 w 7658847"/>
              <a:gd name="connsiteY3" fmla="*/ 10833847 h 10833847"/>
              <a:gd name="connsiteX4" fmla="*/ 0 w 7658847"/>
              <a:gd name="connsiteY4" fmla="*/ 10833847 h 10833847"/>
              <a:gd name="connsiteX0" fmla="*/ 0 w 8519458"/>
              <a:gd name="connsiteY0" fmla="*/ 10833847 h 10833847"/>
              <a:gd name="connsiteX1" fmla="*/ 6064623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519458"/>
              <a:gd name="connsiteY0" fmla="*/ 10833847 h 10833847"/>
              <a:gd name="connsiteX1" fmla="*/ 7167281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344463"/>
              <a:gd name="connsiteY0" fmla="*/ 10845647 h 10845647"/>
              <a:gd name="connsiteX1" fmla="*/ 6992286 w 8344463"/>
              <a:gd name="connsiteY1" fmla="*/ 0 h 10845647"/>
              <a:gd name="connsiteX2" fmla="*/ 8344463 w 8344463"/>
              <a:gd name="connsiteY2" fmla="*/ 0 h 10845647"/>
              <a:gd name="connsiteX3" fmla="*/ 1349005 w 8344463"/>
              <a:gd name="connsiteY3" fmla="*/ 10833847 h 10845647"/>
              <a:gd name="connsiteX4" fmla="*/ 0 w 8344463"/>
              <a:gd name="connsiteY4" fmla="*/ 10845647 h 10845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44463" h="10845647">
                <a:moveTo>
                  <a:pt x="0" y="10845647"/>
                </a:moveTo>
                <a:lnTo>
                  <a:pt x="6992286" y="0"/>
                </a:lnTo>
                <a:lnTo>
                  <a:pt x="8344463" y="0"/>
                </a:lnTo>
                <a:lnTo>
                  <a:pt x="1349005" y="10833847"/>
                </a:lnTo>
                <a:lnTo>
                  <a:pt x="0" y="10845647"/>
                </a:lnTo>
                <a:close/>
              </a:path>
            </a:pathLst>
          </a:custGeom>
          <a:solidFill>
            <a:srgbClr val="045E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F15F92E3-8639-F646-B017-ADF9E94855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8245" y="2976007"/>
            <a:ext cx="9195508" cy="905987"/>
          </a:xfrm>
          <a:prstGeom prst="rect">
            <a:avLst/>
          </a:prstGeom>
          <a:noFill/>
        </p:spPr>
        <p:txBody>
          <a:bodyPr lIns="0" rIns="0" anchor="ctr"/>
          <a:lstStyle>
            <a:lvl1pPr marL="0"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US" dirty="0"/>
              <a:t>Click to edit slide divider header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7CC8C01-EF53-7E4A-2655-82C49AFE5FD5}"/>
              </a:ext>
            </a:extLst>
          </p:cNvPr>
          <p:cNvSpPr txBox="1"/>
          <p:nvPr userDrawn="1"/>
        </p:nvSpPr>
        <p:spPr>
          <a:xfrm>
            <a:off x="161304" y="6673899"/>
            <a:ext cx="62308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 dirty="0">
                <a:solidFill>
                  <a:srgbClr val="54596A"/>
                </a:solidFill>
              </a:rPr>
              <a:t>© 2023 </a:t>
            </a:r>
            <a:r>
              <a:rPr lang="en-US" sz="800" dirty="0" err="1">
                <a:solidFill>
                  <a:srgbClr val="54596A"/>
                </a:solidFill>
              </a:rPr>
              <a:t>TPx</a:t>
            </a:r>
            <a:r>
              <a:rPr lang="en-US" sz="800" dirty="0">
                <a:solidFill>
                  <a:srgbClr val="54596A"/>
                </a:solidFill>
              </a:rPr>
              <a:t> Communications. Confidential Information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692005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9D69157-5AE2-1432-0179-151A28DE231B}"/>
              </a:ext>
            </a:extLst>
          </p:cNvPr>
          <p:cNvSpPr/>
          <p:nvPr userDrawn="1"/>
        </p:nvSpPr>
        <p:spPr>
          <a:xfrm>
            <a:off x="6557287" y="2628"/>
            <a:ext cx="5641443" cy="6860657"/>
          </a:xfrm>
          <a:custGeom>
            <a:avLst/>
            <a:gdLst>
              <a:gd name="connsiteX0" fmla="*/ 0 w 11213432"/>
              <a:gd name="connsiteY0" fmla="*/ 0 h 12339671"/>
              <a:gd name="connsiteX1" fmla="*/ 11213432 w 11213432"/>
              <a:gd name="connsiteY1" fmla="*/ 0 h 12339671"/>
              <a:gd name="connsiteX2" fmla="*/ 11213432 w 11213432"/>
              <a:gd name="connsiteY2" fmla="*/ 12339671 h 12339671"/>
              <a:gd name="connsiteX3" fmla="*/ 0 w 11213432"/>
              <a:gd name="connsiteY3" fmla="*/ 12339671 h 12339671"/>
              <a:gd name="connsiteX4" fmla="*/ 0 w 11213432"/>
              <a:gd name="connsiteY4" fmla="*/ 0 h 12339671"/>
              <a:gd name="connsiteX0" fmla="*/ 5454316 w 11213432"/>
              <a:gd name="connsiteY0" fmla="*/ 0 h 12339671"/>
              <a:gd name="connsiteX1" fmla="*/ 11213432 w 11213432"/>
              <a:gd name="connsiteY1" fmla="*/ 0 h 12339671"/>
              <a:gd name="connsiteX2" fmla="*/ 11213432 w 11213432"/>
              <a:gd name="connsiteY2" fmla="*/ 12339671 h 12339671"/>
              <a:gd name="connsiteX3" fmla="*/ 0 w 11213432"/>
              <a:gd name="connsiteY3" fmla="*/ 12339671 h 12339671"/>
              <a:gd name="connsiteX4" fmla="*/ 5454316 w 11213432"/>
              <a:gd name="connsiteY4" fmla="*/ 0 h 12339671"/>
              <a:gd name="connsiteX0" fmla="*/ 6015790 w 11213432"/>
              <a:gd name="connsiteY0" fmla="*/ 0 h 12339671"/>
              <a:gd name="connsiteX1" fmla="*/ 11213432 w 11213432"/>
              <a:gd name="connsiteY1" fmla="*/ 0 h 12339671"/>
              <a:gd name="connsiteX2" fmla="*/ 11213432 w 11213432"/>
              <a:gd name="connsiteY2" fmla="*/ 12339671 h 12339671"/>
              <a:gd name="connsiteX3" fmla="*/ 0 w 11213432"/>
              <a:gd name="connsiteY3" fmla="*/ 12339671 h 12339671"/>
              <a:gd name="connsiteX4" fmla="*/ 6015790 w 11213432"/>
              <a:gd name="connsiteY4" fmla="*/ 0 h 12339671"/>
              <a:gd name="connsiteX0" fmla="*/ 6128084 w 11325726"/>
              <a:gd name="connsiteY0" fmla="*/ 0 h 12339671"/>
              <a:gd name="connsiteX1" fmla="*/ 11325726 w 11325726"/>
              <a:gd name="connsiteY1" fmla="*/ 0 h 12339671"/>
              <a:gd name="connsiteX2" fmla="*/ 11325726 w 11325726"/>
              <a:gd name="connsiteY2" fmla="*/ 12339671 h 12339671"/>
              <a:gd name="connsiteX3" fmla="*/ 0 w 11325726"/>
              <a:gd name="connsiteY3" fmla="*/ 12323629 h 12339671"/>
              <a:gd name="connsiteX4" fmla="*/ 6128084 w 11325726"/>
              <a:gd name="connsiteY4" fmla="*/ 0 h 12339671"/>
              <a:gd name="connsiteX0" fmla="*/ 6144127 w 11341769"/>
              <a:gd name="connsiteY0" fmla="*/ 0 h 12339671"/>
              <a:gd name="connsiteX1" fmla="*/ 11341769 w 11341769"/>
              <a:gd name="connsiteY1" fmla="*/ 0 h 12339671"/>
              <a:gd name="connsiteX2" fmla="*/ 11341769 w 11341769"/>
              <a:gd name="connsiteY2" fmla="*/ 12339671 h 12339671"/>
              <a:gd name="connsiteX3" fmla="*/ 0 w 11341769"/>
              <a:gd name="connsiteY3" fmla="*/ 12307612 h 12339671"/>
              <a:gd name="connsiteX4" fmla="*/ 6144127 w 11341769"/>
              <a:gd name="connsiteY4" fmla="*/ 0 h 12339671"/>
              <a:gd name="connsiteX0" fmla="*/ 6192254 w 11389896"/>
              <a:gd name="connsiteY0" fmla="*/ 0 h 12339671"/>
              <a:gd name="connsiteX1" fmla="*/ 11389896 w 11389896"/>
              <a:gd name="connsiteY1" fmla="*/ 0 h 12339671"/>
              <a:gd name="connsiteX2" fmla="*/ 11389896 w 11389896"/>
              <a:gd name="connsiteY2" fmla="*/ 12339671 h 12339671"/>
              <a:gd name="connsiteX3" fmla="*/ 0 w 11389896"/>
              <a:gd name="connsiteY3" fmla="*/ 12323629 h 12339671"/>
              <a:gd name="connsiteX4" fmla="*/ 6192254 w 11389896"/>
              <a:gd name="connsiteY4" fmla="*/ 0 h 12339671"/>
              <a:gd name="connsiteX0" fmla="*/ 6192254 w 11389896"/>
              <a:gd name="connsiteY0" fmla="*/ 0 h 12339671"/>
              <a:gd name="connsiteX1" fmla="*/ 11389896 w 11389896"/>
              <a:gd name="connsiteY1" fmla="*/ 0 h 12339671"/>
              <a:gd name="connsiteX2" fmla="*/ 11389896 w 11389896"/>
              <a:gd name="connsiteY2" fmla="*/ 12339671 h 12339671"/>
              <a:gd name="connsiteX3" fmla="*/ 0 w 11389896"/>
              <a:gd name="connsiteY3" fmla="*/ 12323629 h 12339671"/>
              <a:gd name="connsiteX4" fmla="*/ 6192254 w 11389896"/>
              <a:gd name="connsiteY4" fmla="*/ 0 h 12339671"/>
              <a:gd name="connsiteX0" fmla="*/ 6182094 w 11379736"/>
              <a:gd name="connsiteY0" fmla="*/ 0 h 12339671"/>
              <a:gd name="connsiteX1" fmla="*/ 11379736 w 11379736"/>
              <a:gd name="connsiteY1" fmla="*/ 0 h 12339671"/>
              <a:gd name="connsiteX2" fmla="*/ 11379736 w 11379736"/>
              <a:gd name="connsiteY2" fmla="*/ 12339671 h 12339671"/>
              <a:gd name="connsiteX3" fmla="*/ 0 w 11379736"/>
              <a:gd name="connsiteY3" fmla="*/ 12323629 h 12339671"/>
              <a:gd name="connsiteX4" fmla="*/ 6182094 w 11379736"/>
              <a:gd name="connsiteY4" fmla="*/ 0 h 12339671"/>
              <a:gd name="connsiteX0" fmla="*/ 6182094 w 11379736"/>
              <a:gd name="connsiteY0" fmla="*/ 0 h 12339671"/>
              <a:gd name="connsiteX1" fmla="*/ 11359416 w 11379736"/>
              <a:gd name="connsiteY1" fmla="*/ 20288 h 12339671"/>
              <a:gd name="connsiteX2" fmla="*/ 11379736 w 11379736"/>
              <a:gd name="connsiteY2" fmla="*/ 12339671 h 12339671"/>
              <a:gd name="connsiteX3" fmla="*/ 0 w 11379736"/>
              <a:gd name="connsiteY3" fmla="*/ 12323629 h 12339671"/>
              <a:gd name="connsiteX4" fmla="*/ 6182094 w 11379736"/>
              <a:gd name="connsiteY4" fmla="*/ 0 h 12339671"/>
              <a:gd name="connsiteX0" fmla="*/ 6182094 w 11379736"/>
              <a:gd name="connsiteY0" fmla="*/ 0 h 12339671"/>
              <a:gd name="connsiteX1" fmla="*/ 11369576 w 11379736"/>
              <a:gd name="connsiteY1" fmla="*/ 30431 h 12339671"/>
              <a:gd name="connsiteX2" fmla="*/ 11379736 w 11379736"/>
              <a:gd name="connsiteY2" fmla="*/ 12339671 h 12339671"/>
              <a:gd name="connsiteX3" fmla="*/ 0 w 11379736"/>
              <a:gd name="connsiteY3" fmla="*/ 12323629 h 12339671"/>
              <a:gd name="connsiteX4" fmla="*/ 6182094 w 11379736"/>
              <a:gd name="connsiteY4" fmla="*/ 0 h 12339671"/>
              <a:gd name="connsiteX0" fmla="*/ 6182094 w 11379736"/>
              <a:gd name="connsiteY0" fmla="*/ 0 h 12339671"/>
              <a:gd name="connsiteX1" fmla="*/ 11369576 w 11379736"/>
              <a:gd name="connsiteY1" fmla="*/ 20288 h 12339671"/>
              <a:gd name="connsiteX2" fmla="*/ 11379736 w 11379736"/>
              <a:gd name="connsiteY2" fmla="*/ 12339671 h 12339671"/>
              <a:gd name="connsiteX3" fmla="*/ 0 w 11379736"/>
              <a:gd name="connsiteY3" fmla="*/ 12323629 h 12339671"/>
              <a:gd name="connsiteX4" fmla="*/ 6182094 w 11379736"/>
              <a:gd name="connsiteY4" fmla="*/ 0 h 12339671"/>
              <a:gd name="connsiteX0" fmla="*/ 6212574 w 11379736"/>
              <a:gd name="connsiteY0" fmla="*/ 0 h 12339671"/>
              <a:gd name="connsiteX1" fmla="*/ 11369576 w 11379736"/>
              <a:gd name="connsiteY1" fmla="*/ 20288 h 12339671"/>
              <a:gd name="connsiteX2" fmla="*/ 11379736 w 11379736"/>
              <a:gd name="connsiteY2" fmla="*/ 12339671 h 12339671"/>
              <a:gd name="connsiteX3" fmla="*/ 0 w 11379736"/>
              <a:gd name="connsiteY3" fmla="*/ 12323629 h 12339671"/>
              <a:gd name="connsiteX4" fmla="*/ 6212574 w 11379736"/>
              <a:gd name="connsiteY4" fmla="*/ 0 h 12339671"/>
              <a:gd name="connsiteX0" fmla="*/ 6212574 w 11381691"/>
              <a:gd name="connsiteY0" fmla="*/ 0 h 12339671"/>
              <a:gd name="connsiteX1" fmla="*/ 11379736 w 11381691"/>
              <a:gd name="connsiteY1" fmla="*/ 10144 h 12339671"/>
              <a:gd name="connsiteX2" fmla="*/ 11379736 w 11381691"/>
              <a:gd name="connsiteY2" fmla="*/ 12339671 h 12339671"/>
              <a:gd name="connsiteX3" fmla="*/ 0 w 11381691"/>
              <a:gd name="connsiteY3" fmla="*/ 12323629 h 12339671"/>
              <a:gd name="connsiteX4" fmla="*/ 6212574 w 11381691"/>
              <a:gd name="connsiteY4" fmla="*/ 0 h 12339671"/>
              <a:gd name="connsiteX0" fmla="*/ 7001863 w 11381691"/>
              <a:gd name="connsiteY0" fmla="*/ 10843 h 12329527"/>
              <a:gd name="connsiteX1" fmla="*/ 11379736 w 11381691"/>
              <a:gd name="connsiteY1" fmla="*/ 0 h 12329527"/>
              <a:gd name="connsiteX2" fmla="*/ 11379736 w 11381691"/>
              <a:gd name="connsiteY2" fmla="*/ 12329527 h 12329527"/>
              <a:gd name="connsiteX3" fmla="*/ 0 w 11381691"/>
              <a:gd name="connsiteY3" fmla="*/ 12313485 h 12329527"/>
              <a:gd name="connsiteX4" fmla="*/ 7001863 w 11381691"/>
              <a:gd name="connsiteY4" fmla="*/ 10843 h 12329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81691" h="12329527">
                <a:moveTo>
                  <a:pt x="7001863" y="10843"/>
                </a:moveTo>
                <a:lnTo>
                  <a:pt x="11379736" y="0"/>
                </a:lnTo>
                <a:cubicBezTo>
                  <a:pt x="11386509" y="4106461"/>
                  <a:pt x="11372963" y="8223066"/>
                  <a:pt x="11379736" y="12329527"/>
                </a:cubicBezTo>
                <a:lnTo>
                  <a:pt x="0" y="12313485"/>
                </a:lnTo>
                <a:lnTo>
                  <a:pt x="7001863" y="10843"/>
                </a:lnTo>
                <a:close/>
              </a:path>
            </a:pathLst>
          </a:custGeom>
          <a:solidFill>
            <a:srgbClr val="045E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E9E3BC-84C4-453A-BFBE-C44B096313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52" y="2467495"/>
            <a:ext cx="7814012" cy="1107440"/>
          </a:xfrm>
        </p:spPr>
        <p:txBody>
          <a:bodyPr anchor="b"/>
          <a:lstStyle>
            <a:lvl1pPr marL="91440">
              <a:defRPr sz="4889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Click to edit divider title</a:t>
            </a:r>
          </a:p>
        </p:txBody>
      </p:sp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2487E151-DB54-E337-F1D2-4373EBFEE1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7133" y="411744"/>
            <a:ext cx="2075676" cy="795676"/>
          </a:xfrm>
          <a:prstGeom prst="rect">
            <a:avLst/>
          </a:prstGeom>
        </p:spPr>
      </p:pic>
      <p:sp>
        <p:nvSpPr>
          <p:cNvPr id="4" name="Parallelogram 3">
            <a:extLst>
              <a:ext uri="{FF2B5EF4-FFF2-40B4-BE49-F238E27FC236}">
                <a16:creationId xmlns:a16="http://schemas.microsoft.com/office/drawing/2014/main" id="{FE69F5C7-970B-5249-7482-D87663ADBA94}"/>
              </a:ext>
            </a:extLst>
          </p:cNvPr>
          <p:cNvSpPr/>
          <p:nvPr userDrawn="1"/>
        </p:nvSpPr>
        <p:spPr>
          <a:xfrm>
            <a:off x="6071060" y="-3458"/>
            <a:ext cx="4630935" cy="6866301"/>
          </a:xfrm>
          <a:custGeom>
            <a:avLst/>
            <a:gdLst>
              <a:gd name="connsiteX0" fmla="*/ 0 w 2032000"/>
              <a:gd name="connsiteY0" fmla="*/ 11811000 h 11811000"/>
              <a:gd name="connsiteX1" fmla="*/ 508000 w 2032000"/>
              <a:gd name="connsiteY1" fmla="*/ 0 h 11811000"/>
              <a:gd name="connsiteX2" fmla="*/ 2032000 w 2032000"/>
              <a:gd name="connsiteY2" fmla="*/ 0 h 11811000"/>
              <a:gd name="connsiteX3" fmla="*/ 1524000 w 2032000"/>
              <a:gd name="connsiteY3" fmla="*/ 11811000 h 11811000"/>
              <a:gd name="connsiteX4" fmla="*/ 0 w 2032000"/>
              <a:gd name="connsiteY4" fmla="*/ 11811000 h 11811000"/>
              <a:gd name="connsiteX0" fmla="*/ 0 w 7645400"/>
              <a:gd name="connsiteY0" fmla="*/ 11811000 h 11811000"/>
              <a:gd name="connsiteX1" fmla="*/ 508000 w 7645400"/>
              <a:gd name="connsiteY1" fmla="*/ 0 h 11811000"/>
              <a:gd name="connsiteX2" fmla="*/ 7645400 w 7645400"/>
              <a:gd name="connsiteY2" fmla="*/ 990600 h 11811000"/>
              <a:gd name="connsiteX3" fmla="*/ 1524000 w 7645400"/>
              <a:gd name="connsiteY3" fmla="*/ 11811000 h 11811000"/>
              <a:gd name="connsiteX4" fmla="*/ 0 w 7645400"/>
              <a:gd name="connsiteY4" fmla="*/ 11811000 h 11811000"/>
              <a:gd name="connsiteX0" fmla="*/ 0 w 7645400"/>
              <a:gd name="connsiteY0" fmla="*/ 10896600 h 10896600"/>
              <a:gd name="connsiteX1" fmla="*/ 5969000 w 7645400"/>
              <a:gd name="connsiteY1" fmla="*/ 0 h 10896600"/>
              <a:gd name="connsiteX2" fmla="*/ 7645400 w 7645400"/>
              <a:gd name="connsiteY2" fmla="*/ 76200 h 10896600"/>
              <a:gd name="connsiteX3" fmla="*/ 1524000 w 7645400"/>
              <a:gd name="connsiteY3" fmla="*/ 10896600 h 10896600"/>
              <a:gd name="connsiteX4" fmla="*/ 0 w 7645400"/>
              <a:gd name="connsiteY4" fmla="*/ 10896600 h 10896600"/>
              <a:gd name="connsiteX0" fmla="*/ 0 w 7645400"/>
              <a:gd name="connsiteY0" fmla="*/ 10820400 h 10820400"/>
              <a:gd name="connsiteX1" fmla="*/ 5943600 w 7645400"/>
              <a:gd name="connsiteY1" fmla="*/ 0 h 10820400"/>
              <a:gd name="connsiteX2" fmla="*/ 7645400 w 7645400"/>
              <a:gd name="connsiteY2" fmla="*/ 0 h 10820400"/>
              <a:gd name="connsiteX3" fmla="*/ 1524000 w 7645400"/>
              <a:gd name="connsiteY3" fmla="*/ 10820400 h 10820400"/>
              <a:gd name="connsiteX4" fmla="*/ 0 w 7645400"/>
              <a:gd name="connsiteY4" fmla="*/ 10820400 h 10820400"/>
              <a:gd name="connsiteX0" fmla="*/ 0 w 7645400"/>
              <a:gd name="connsiteY0" fmla="*/ 10833847 h 10833847"/>
              <a:gd name="connsiteX1" fmla="*/ 6064623 w 7645400"/>
              <a:gd name="connsiteY1" fmla="*/ 0 h 10833847"/>
              <a:gd name="connsiteX2" fmla="*/ 7645400 w 7645400"/>
              <a:gd name="connsiteY2" fmla="*/ 13447 h 10833847"/>
              <a:gd name="connsiteX3" fmla="*/ 1524000 w 7645400"/>
              <a:gd name="connsiteY3" fmla="*/ 10833847 h 10833847"/>
              <a:gd name="connsiteX4" fmla="*/ 0 w 7645400"/>
              <a:gd name="connsiteY4" fmla="*/ 10833847 h 10833847"/>
              <a:gd name="connsiteX0" fmla="*/ 0 w 7658847"/>
              <a:gd name="connsiteY0" fmla="*/ 10833847 h 10833847"/>
              <a:gd name="connsiteX1" fmla="*/ 6064623 w 7658847"/>
              <a:gd name="connsiteY1" fmla="*/ 0 h 10833847"/>
              <a:gd name="connsiteX2" fmla="*/ 7658847 w 7658847"/>
              <a:gd name="connsiteY2" fmla="*/ 0 h 10833847"/>
              <a:gd name="connsiteX3" fmla="*/ 1524000 w 7658847"/>
              <a:gd name="connsiteY3" fmla="*/ 10833847 h 10833847"/>
              <a:gd name="connsiteX4" fmla="*/ 0 w 7658847"/>
              <a:gd name="connsiteY4" fmla="*/ 10833847 h 10833847"/>
              <a:gd name="connsiteX0" fmla="*/ 0 w 8519458"/>
              <a:gd name="connsiteY0" fmla="*/ 10833847 h 10833847"/>
              <a:gd name="connsiteX1" fmla="*/ 6064623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519458"/>
              <a:gd name="connsiteY0" fmla="*/ 10833847 h 10833847"/>
              <a:gd name="connsiteX1" fmla="*/ 7167281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344463"/>
              <a:gd name="connsiteY0" fmla="*/ 10845647 h 10845647"/>
              <a:gd name="connsiteX1" fmla="*/ 6992286 w 8344463"/>
              <a:gd name="connsiteY1" fmla="*/ 0 h 10845647"/>
              <a:gd name="connsiteX2" fmla="*/ 8344463 w 8344463"/>
              <a:gd name="connsiteY2" fmla="*/ 0 h 10845647"/>
              <a:gd name="connsiteX3" fmla="*/ 1349005 w 8344463"/>
              <a:gd name="connsiteY3" fmla="*/ 10833847 h 10845647"/>
              <a:gd name="connsiteX4" fmla="*/ 0 w 8344463"/>
              <a:gd name="connsiteY4" fmla="*/ 10845647 h 10845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44463" h="10845647">
                <a:moveTo>
                  <a:pt x="0" y="10845647"/>
                </a:moveTo>
                <a:lnTo>
                  <a:pt x="6992286" y="0"/>
                </a:lnTo>
                <a:lnTo>
                  <a:pt x="8344463" y="0"/>
                </a:lnTo>
                <a:lnTo>
                  <a:pt x="1349005" y="10833847"/>
                </a:lnTo>
                <a:lnTo>
                  <a:pt x="0" y="10845647"/>
                </a:lnTo>
                <a:close/>
              </a:path>
            </a:pathLst>
          </a:custGeom>
          <a:solidFill>
            <a:srgbClr val="007A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" name="Parallelogram 3">
            <a:extLst>
              <a:ext uri="{FF2B5EF4-FFF2-40B4-BE49-F238E27FC236}">
                <a16:creationId xmlns:a16="http://schemas.microsoft.com/office/drawing/2014/main" id="{96263AE2-FEAA-8804-9A45-EF7356AF06B2}"/>
              </a:ext>
            </a:extLst>
          </p:cNvPr>
          <p:cNvSpPr/>
          <p:nvPr userDrawn="1"/>
        </p:nvSpPr>
        <p:spPr>
          <a:xfrm>
            <a:off x="7833289" y="-1"/>
            <a:ext cx="3614935" cy="5073360"/>
          </a:xfrm>
          <a:custGeom>
            <a:avLst/>
            <a:gdLst>
              <a:gd name="connsiteX0" fmla="*/ 0 w 2032000"/>
              <a:gd name="connsiteY0" fmla="*/ 11811000 h 11811000"/>
              <a:gd name="connsiteX1" fmla="*/ 508000 w 2032000"/>
              <a:gd name="connsiteY1" fmla="*/ 0 h 11811000"/>
              <a:gd name="connsiteX2" fmla="*/ 2032000 w 2032000"/>
              <a:gd name="connsiteY2" fmla="*/ 0 h 11811000"/>
              <a:gd name="connsiteX3" fmla="*/ 1524000 w 2032000"/>
              <a:gd name="connsiteY3" fmla="*/ 11811000 h 11811000"/>
              <a:gd name="connsiteX4" fmla="*/ 0 w 2032000"/>
              <a:gd name="connsiteY4" fmla="*/ 11811000 h 11811000"/>
              <a:gd name="connsiteX0" fmla="*/ 0 w 7645400"/>
              <a:gd name="connsiteY0" fmla="*/ 11811000 h 11811000"/>
              <a:gd name="connsiteX1" fmla="*/ 508000 w 7645400"/>
              <a:gd name="connsiteY1" fmla="*/ 0 h 11811000"/>
              <a:gd name="connsiteX2" fmla="*/ 7645400 w 7645400"/>
              <a:gd name="connsiteY2" fmla="*/ 990600 h 11811000"/>
              <a:gd name="connsiteX3" fmla="*/ 1524000 w 7645400"/>
              <a:gd name="connsiteY3" fmla="*/ 11811000 h 11811000"/>
              <a:gd name="connsiteX4" fmla="*/ 0 w 7645400"/>
              <a:gd name="connsiteY4" fmla="*/ 11811000 h 11811000"/>
              <a:gd name="connsiteX0" fmla="*/ 0 w 7645400"/>
              <a:gd name="connsiteY0" fmla="*/ 10896600 h 10896600"/>
              <a:gd name="connsiteX1" fmla="*/ 5969000 w 7645400"/>
              <a:gd name="connsiteY1" fmla="*/ 0 h 10896600"/>
              <a:gd name="connsiteX2" fmla="*/ 7645400 w 7645400"/>
              <a:gd name="connsiteY2" fmla="*/ 76200 h 10896600"/>
              <a:gd name="connsiteX3" fmla="*/ 1524000 w 7645400"/>
              <a:gd name="connsiteY3" fmla="*/ 10896600 h 10896600"/>
              <a:gd name="connsiteX4" fmla="*/ 0 w 7645400"/>
              <a:gd name="connsiteY4" fmla="*/ 10896600 h 10896600"/>
              <a:gd name="connsiteX0" fmla="*/ 0 w 7645400"/>
              <a:gd name="connsiteY0" fmla="*/ 10820400 h 10820400"/>
              <a:gd name="connsiteX1" fmla="*/ 5943600 w 7645400"/>
              <a:gd name="connsiteY1" fmla="*/ 0 h 10820400"/>
              <a:gd name="connsiteX2" fmla="*/ 7645400 w 7645400"/>
              <a:gd name="connsiteY2" fmla="*/ 0 h 10820400"/>
              <a:gd name="connsiteX3" fmla="*/ 1524000 w 7645400"/>
              <a:gd name="connsiteY3" fmla="*/ 10820400 h 10820400"/>
              <a:gd name="connsiteX4" fmla="*/ 0 w 7645400"/>
              <a:gd name="connsiteY4" fmla="*/ 10820400 h 10820400"/>
              <a:gd name="connsiteX0" fmla="*/ 0 w 7645400"/>
              <a:gd name="connsiteY0" fmla="*/ 10833847 h 10833847"/>
              <a:gd name="connsiteX1" fmla="*/ 6064623 w 7645400"/>
              <a:gd name="connsiteY1" fmla="*/ 0 h 10833847"/>
              <a:gd name="connsiteX2" fmla="*/ 7645400 w 7645400"/>
              <a:gd name="connsiteY2" fmla="*/ 13447 h 10833847"/>
              <a:gd name="connsiteX3" fmla="*/ 1524000 w 7645400"/>
              <a:gd name="connsiteY3" fmla="*/ 10833847 h 10833847"/>
              <a:gd name="connsiteX4" fmla="*/ 0 w 7645400"/>
              <a:gd name="connsiteY4" fmla="*/ 10833847 h 10833847"/>
              <a:gd name="connsiteX0" fmla="*/ 0 w 7658847"/>
              <a:gd name="connsiteY0" fmla="*/ 10833847 h 10833847"/>
              <a:gd name="connsiteX1" fmla="*/ 6064623 w 7658847"/>
              <a:gd name="connsiteY1" fmla="*/ 0 h 10833847"/>
              <a:gd name="connsiteX2" fmla="*/ 7658847 w 7658847"/>
              <a:gd name="connsiteY2" fmla="*/ 0 h 10833847"/>
              <a:gd name="connsiteX3" fmla="*/ 1524000 w 7658847"/>
              <a:gd name="connsiteY3" fmla="*/ 10833847 h 10833847"/>
              <a:gd name="connsiteX4" fmla="*/ 0 w 7658847"/>
              <a:gd name="connsiteY4" fmla="*/ 10833847 h 10833847"/>
              <a:gd name="connsiteX0" fmla="*/ 0 w 8519458"/>
              <a:gd name="connsiteY0" fmla="*/ 10833847 h 10833847"/>
              <a:gd name="connsiteX1" fmla="*/ 6064623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519458"/>
              <a:gd name="connsiteY0" fmla="*/ 10833847 h 10833847"/>
              <a:gd name="connsiteX1" fmla="*/ 7167281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344463"/>
              <a:gd name="connsiteY0" fmla="*/ 10845647 h 10845647"/>
              <a:gd name="connsiteX1" fmla="*/ 6992286 w 8344463"/>
              <a:gd name="connsiteY1" fmla="*/ 0 h 10845647"/>
              <a:gd name="connsiteX2" fmla="*/ 8344463 w 8344463"/>
              <a:gd name="connsiteY2" fmla="*/ 0 h 10845647"/>
              <a:gd name="connsiteX3" fmla="*/ 1349005 w 8344463"/>
              <a:gd name="connsiteY3" fmla="*/ 10833847 h 10845647"/>
              <a:gd name="connsiteX4" fmla="*/ 0 w 8344463"/>
              <a:gd name="connsiteY4" fmla="*/ 10845647 h 10845647"/>
              <a:gd name="connsiteX0" fmla="*/ 0 w 8344463"/>
              <a:gd name="connsiteY0" fmla="*/ 10845647 h 10845647"/>
              <a:gd name="connsiteX1" fmla="*/ 6992286 w 8344463"/>
              <a:gd name="connsiteY1" fmla="*/ 0 h 10845647"/>
              <a:gd name="connsiteX2" fmla="*/ 8344463 w 8344463"/>
              <a:gd name="connsiteY2" fmla="*/ 0 h 10845647"/>
              <a:gd name="connsiteX3" fmla="*/ 3179732 w 8344463"/>
              <a:gd name="connsiteY3" fmla="*/ 8013612 h 10845647"/>
              <a:gd name="connsiteX4" fmla="*/ 0 w 8344463"/>
              <a:gd name="connsiteY4" fmla="*/ 10845647 h 10845647"/>
              <a:gd name="connsiteX0" fmla="*/ 0 w 6527198"/>
              <a:gd name="connsiteY0" fmla="*/ 8025412 h 8025412"/>
              <a:gd name="connsiteX1" fmla="*/ 5175021 w 6527198"/>
              <a:gd name="connsiteY1" fmla="*/ 0 h 8025412"/>
              <a:gd name="connsiteX2" fmla="*/ 6527198 w 6527198"/>
              <a:gd name="connsiteY2" fmla="*/ 0 h 8025412"/>
              <a:gd name="connsiteX3" fmla="*/ 1362467 w 6527198"/>
              <a:gd name="connsiteY3" fmla="*/ 8013612 h 8025412"/>
              <a:gd name="connsiteX4" fmla="*/ 0 w 6527198"/>
              <a:gd name="connsiteY4" fmla="*/ 8025412 h 8025412"/>
              <a:gd name="connsiteX0" fmla="*/ 0 w 6486815"/>
              <a:gd name="connsiteY0" fmla="*/ 8001812 h 8013612"/>
              <a:gd name="connsiteX1" fmla="*/ 5134638 w 6486815"/>
              <a:gd name="connsiteY1" fmla="*/ 0 h 8013612"/>
              <a:gd name="connsiteX2" fmla="*/ 6486815 w 6486815"/>
              <a:gd name="connsiteY2" fmla="*/ 0 h 8013612"/>
              <a:gd name="connsiteX3" fmla="*/ 1322084 w 6486815"/>
              <a:gd name="connsiteY3" fmla="*/ 8013612 h 8013612"/>
              <a:gd name="connsiteX4" fmla="*/ 0 w 6486815"/>
              <a:gd name="connsiteY4" fmla="*/ 8001812 h 8013612"/>
              <a:gd name="connsiteX0" fmla="*/ 0 w 6513737"/>
              <a:gd name="connsiteY0" fmla="*/ 8001812 h 8013612"/>
              <a:gd name="connsiteX1" fmla="*/ 5161560 w 6513737"/>
              <a:gd name="connsiteY1" fmla="*/ 0 h 8013612"/>
              <a:gd name="connsiteX2" fmla="*/ 6513737 w 6513737"/>
              <a:gd name="connsiteY2" fmla="*/ 0 h 8013612"/>
              <a:gd name="connsiteX3" fmla="*/ 1349006 w 6513737"/>
              <a:gd name="connsiteY3" fmla="*/ 8013612 h 8013612"/>
              <a:gd name="connsiteX4" fmla="*/ 0 w 6513737"/>
              <a:gd name="connsiteY4" fmla="*/ 8001812 h 8013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13737" h="8013612">
                <a:moveTo>
                  <a:pt x="0" y="8001812"/>
                </a:moveTo>
                <a:lnTo>
                  <a:pt x="5161560" y="0"/>
                </a:lnTo>
                <a:lnTo>
                  <a:pt x="6513737" y="0"/>
                </a:lnTo>
                <a:lnTo>
                  <a:pt x="1349006" y="8013612"/>
                </a:lnTo>
                <a:lnTo>
                  <a:pt x="0" y="8001812"/>
                </a:lnTo>
                <a:close/>
              </a:path>
            </a:pathLst>
          </a:custGeom>
          <a:solidFill>
            <a:srgbClr val="21C0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" name="Parallelogram 3">
            <a:extLst>
              <a:ext uri="{FF2B5EF4-FFF2-40B4-BE49-F238E27FC236}">
                <a16:creationId xmlns:a16="http://schemas.microsoft.com/office/drawing/2014/main" id="{DB610535-F72F-C2C9-2C73-BD8272A5AC43}"/>
              </a:ext>
            </a:extLst>
          </p:cNvPr>
          <p:cNvSpPr/>
          <p:nvPr userDrawn="1"/>
        </p:nvSpPr>
        <p:spPr>
          <a:xfrm>
            <a:off x="9424747" y="2627"/>
            <a:ext cx="2770758" cy="3556831"/>
          </a:xfrm>
          <a:custGeom>
            <a:avLst/>
            <a:gdLst>
              <a:gd name="connsiteX0" fmla="*/ 0 w 2032000"/>
              <a:gd name="connsiteY0" fmla="*/ 11811000 h 11811000"/>
              <a:gd name="connsiteX1" fmla="*/ 508000 w 2032000"/>
              <a:gd name="connsiteY1" fmla="*/ 0 h 11811000"/>
              <a:gd name="connsiteX2" fmla="*/ 2032000 w 2032000"/>
              <a:gd name="connsiteY2" fmla="*/ 0 h 11811000"/>
              <a:gd name="connsiteX3" fmla="*/ 1524000 w 2032000"/>
              <a:gd name="connsiteY3" fmla="*/ 11811000 h 11811000"/>
              <a:gd name="connsiteX4" fmla="*/ 0 w 2032000"/>
              <a:gd name="connsiteY4" fmla="*/ 11811000 h 11811000"/>
              <a:gd name="connsiteX0" fmla="*/ 0 w 7645400"/>
              <a:gd name="connsiteY0" fmla="*/ 11811000 h 11811000"/>
              <a:gd name="connsiteX1" fmla="*/ 508000 w 7645400"/>
              <a:gd name="connsiteY1" fmla="*/ 0 h 11811000"/>
              <a:gd name="connsiteX2" fmla="*/ 7645400 w 7645400"/>
              <a:gd name="connsiteY2" fmla="*/ 990600 h 11811000"/>
              <a:gd name="connsiteX3" fmla="*/ 1524000 w 7645400"/>
              <a:gd name="connsiteY3" fmla="*/ 11811000 h 11811000"/>
              <a:gd name="connsiteX4" fmla="*/ 0 w 7645400"/>
              <a:gd name="connsiteY4" fmla="*/ 11811000 h 11811000"/>
              <a:gd name="connsiteX0" fmla="*/ 0 w 7645400"/>
              <a:gd name="connsiteY0" fmla="*/ 10896600 h 10896600"/>
              <a:gd name="connsiteX1" fmla="*/ 5969000 w 7645400"/>
              <a:gd name="connsiteY1" fmla="*/ 0 h 10896600"/>
              <a:gd name="connsiteX2" fmla="*/ 7645400 w 7645400"/>
              <a:gd name="connsiteY2" fmla="*/ 76200 h 10896600"/>
              <a:gd name="connsiteX3" fmla="*/ 1524000 w 7645400"/>
              <a:gd name="connsiteY3" fmla="*/ 10896600 h 10896600"/>
              <a:gd name="connsiteX4" fmla="*/ 0 w 7645400"/>
              <a:gd name="connsiteY4" fmla="*/ 10896600 h 10896600"/>
              <a:gd name="connsiteX0" fmla="*/ 0 w 7645400"/>
              <a:gd name="connsiteY0" fmla="*/ 10820400 h 10820400"/>
              <a:gd name="connsiteX1" fmla="*/ 5943600 w 7645400"/>
              <a:gd name="connsiteY1" fmla="*/ 0 h 10820400"/>
              <a:gd name="connsiteX2" fmla="*/ 7645400 w 7645400"/>
              <a:gd name="connsiteY2" fmla="*/ 0 h 10820400"/>
              <a:gd name="connsiteX3" fmla="*/ 1524000 w 7645400"/>
              <a:gd name="connsiteY3" fmla="*/ 10820400 h 10820400"/>
              <a:gd name="connsiteX4" fmla="*/ 0 w 7645400"/>
              <a:gd name="connsiteY4" fmla="*/ 10820400 h 10820400"/>
              <a:gd name="connsiteX0" fmla="*/ 0 w 7645400"/>
              <a:gd name="connsiteY0" fmla="*/ 10833847 h 10833847"/>
              <a:gd name="connsiteX1" fmla="*/ 6064623 w 7645400"/>
              <a:gd name="connsiteY1" fmla="*/ 0 h 10833847"/>
              <a:gd name="connsiteX2" fmla="*/ 7645400 w 7645400"/>
              <a:gd name="connsiteY2" fmla="*/ 13447 h 10833847"/>
              <a:gd name="connsiteX3" fmla="*/ 1524000 w 7645400"/>
              <a:gd name="connsiteY3" fmla="*/ 10833847 h 10833847"/>
              <a:gd name="connsiteX4" fmla="*/ 0 w 7645400"/>
              <a:gd name="connsiteY4" fmla="*/ 10833847 h 10833847"/>
              <a:gd name="connsiteX0" fmla="*/ 0 w 7658847"/>
              <a:gd name="connsiteY0" fmla="*/ 10833847 h 10833847"/>
              <a:gd name="connsiteX1" fmla="*/ 6064623 w 7658847"/>
              <a:gd name="connsiteY1" fmla="*/ 0 h 10833847"/>
              <a:gd name="connsiteX2" fmla="*/ 7658847 w 7658847"/>
              <a:gd name="connsiteY2" fmla="*/ 0 h 10833847"/>
              <a:gd name="connsiteX3" fmla="*/ 1524000 w 7658847"/>
              <a:gd name="connsiteY3" fmla="*/ 10833847 h 10833847"/>
              <a:gd name="connsiteX4" fmla="*/ 0 w 7658847"/>
              <a:gd name="connsiteY4" fmla="*/ 10833847 h 10833847"/>
              <a:gd name="connsiteX0" fmla="*/ 0 w 8519458"/>
              <a:gd name="connsiteY0" fmla="*/ 10833847 h 10833847"/>
              <a:gd name="connsiteX1" fmla="*/ 6064623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519458"/>
              <a:gd name="connsiteY0" fmla="*/ 10833847 h 10833847"/>
              <a:gd name="connsiteX1" fmla="*/ 7167281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344463"/>
              <a:gd name="connsiteY0" fmla="*/ 10845647 h 10845647"/>
              <a:gd name="connsiteX1" fmla="*/ 6992286 w 8344463"/>
              <a:gd name="connsiteY1" fmla="*/ 0 h 10845647"/>
              <a:gd name="connsiteX2" fmla="*/ 8344463 w 8344463"/>
              <a:gd name="connsiteY2" fmla="*/ 0 h 10845647"/>
              <a:gd name="connsiteX3" fmla="*/ 1349005 w 8344463"/>
              <a:gd name="connsiteY3" fmla="*/ 10833847 h 10845647"/>
              <a:gd name="connsiteX4" fmla="*/ 0 w 8344463"/>
              <a:gd name="connsiteY4" fmla="*/ 10845647 h 10845647"/>
              <a:gd name="connsiteX0" fmla="*/ 0 w 8344463"/>
              <a:gd name="connsiteY0" fmla="*/ 10845647 h 10845647"/>
              <a:gd name="connsiteX1" fmla="*/ 6992286 w 8344463"/>
              <a:gd name="connsiteY1" fmla="*/ 0 h 10845647"/>
              <a:gd name="connsiteX2" fmla="*/ 8344463 w 8344463"/>
              <a:gd name="connsiteY2" fmla="*/ 0 h 10845647"/>
              <a:gd name="connsiteX3" fmla="*/ 3179732 w 8344463"/>
              <a:gd name="connsiteY3" fmla="*/ 8013612 h 10845647"/>
              <a:gd name="connsiteX4" fmla="*/ 0 w 8344463"/>
              <a:gd name="connsiteY4" fmla="*/ 10845647 h 10845647"/>
              <a:gd name="connsiteX0" fmla="*/ 0 w 6527198"/>
              <a:gd name="connsiteY0" fmla="*/ 8025412 h 8025412"/>
              <a:gd name="connsiteX1" fmla="*/ 5175021 w 6527198"/>
              <a:gd name="connsiteY1" fmla="*/ 0 h 8025412"/>
              <a:gd name="connsiteX2" fmla="*/ 6527198 w 6527198"/>
              <a:gd name="connsiteY2" fmla="*/ 0 h 8025412"/>
              <a:gd name="connsiteX3" fmla="*/ 1362467 w 6527198"/>
              <a:gd name="connsiteY3" fmla="*/ 8013612 h 8025412"/>
              <a:gd name="connsiteX4" fmla="*/ 0 w 6527198"/>
              <a:gd name="connsiteY4" fmla="*/ 8025412 h 8025412"/>
              <a:gd name="connsiteX0" fmla="*/ 0 w 6486815"/>
              <a:gd name="connsiteY0" fmla="*/ 8001812 h 8013612"/>
              <a:gd name="connsiteX1" fmla="*/ 5134638 w 6486815"/>
              <a:gd name="connsiteY1" fmla="*/ 0 h 8013612"/>
              <a:gd name="connsiteX2" fmla="*/ 6486815 w 6486815"/>
              <a:gd name="connsiteY2" fmla="*/ 0 h 8013612"/>
              <a:gd name="connsiteX3" fmla="*/ 1322084 w 6486815"/>
              <a:gd name="connsiteY3" fmla="*/ 8013612 h 8013612"/>
              <a:gd name="connsiteX4" fmla="*/ 0 w 6486815"/>
              <a:gd name="connsiteY4" fmla="*/ 8001812 h 8013612"/>
              <a:gd name="connsiteX0" fmla="*/ 0 w 6513737"/>
              <a:gd name="connsiteY0" fmla="*/ 8001812 h 8013612"/>
              <a:gd name="connsiteX1" fmla="*/ 5161560 w 6513737"/>
              <a:gd name="connsiteY1" fmla="*/ 0 h 8013612"/>
              <a:gd name="connsiteX2" fmla="*/ 6513737 w 6513737"/>
              <a:gd name="connsiteY2" fmla="*/ 0 h 8013612"/>
              <a:gd name="connsiteX3" fmla="*/ 1349006 w 6513737"/>
              <a:gd name="connsiteY3" fmla="*/ 8013612 h 8013612"/>
              <a:gd name="connsiteX4" fmla="*/ 0 w 6513737"/>
              <a:gd name="connsiteY4" fmla="*/ 8001812 h 8013612"/>
              <a:gd name="connsiteX0" fmla="*/ 0 w 6513737"/>
              <a:gd name="connsiteY0" fmla="*/ 8001812 h 8001812"/>
              <a:gd name="connsiteX1" fmla="*/ 5161560 w 6513737"/>
              <a:gd name="connsiteY1" fmla="*/ 0 h 8001812"/>
              <a:gd name="connsiteX2" fmla="*/ 6513737 w 6513737"/>
              <a:gd name="connsiteY2" fmla="*/ 0 h 8001812"/>
              <a:gd name="connsiteX3" fmla="*/ 2897047 w 6513737"/>
              <a:gd name="connsiteY3" fmla="*/ 5606382 h 8001812"/>
              <a:gd name="connsiteX4" fmla="*/ 0 w 6513737"/>
              <a:gd name="connsiteY4" fmla="*/ 8001812 h 8001812"/>
              <a:gd name="connsiteX0" fmla="*/ 0 w 4952235"/>
              <a:gd name="connsiteY0" fmla="*/ 5594582 h 5606382"/>
              <a:gd name="connsiteX1" fmla="*/ 3600058 w 4952235"/>
              <a:gd name="connsiteY1" fmla="*/ 0 h 5606382"/>
              <a:gd name="connsiteX2" fmla="*/ 4952235 w 4952235"/>
              <a:gd name="connsiteY2" fmla="*/ 0 h 5606382"/>
              <a:gd name="connsiteX3" fmla="*/ 1335545 w 4952235"/>
              <a:gd name="connsiteY3" fmla="*/ 5606382 h 5606382"/>
              <a:gd name="connsiteX4" fmla="*/ 0 w 4952235"/>
              <a:gd name="connsiteY4" fmla="*/ 5594582 h 5606382"/>
              <a:gd name="connsiteX0" fmla="*/ 0 w 4992618"/>
              <a:gd name="connsiteY0" fmla="*/ 5618182 h 5618182"/>
              <a:gd name="connsiteX1" fmla="*/ 3640441 w 4992618"/>
              <a:gd name="connsiteY1" fmla="*/ 0 h 5618182"/>
              <a:gd name="connsiteX2" fmla="*/ 4992618 w 4992618"/>
              <a:gd name="connsiteY2" fmla="*/ 0 h 5618182"/>
              <a:gd name="connsiteX3" fmla="*/ 1375928 w 4992618"/>
              <a:gd name="connsiteY3" fmla="*/ 5606382 h 5618182"/>
              <a:gd name="connsiteX4" fmla="*/ 0 w 4992618"/>
              <a:gd name="connsiteY4" fmla="*/ 5618182 h 5618182"/>
              <a:gd name="connsiteX0" fmla="*/ 0 w 4992618"/>
              <a:gd name="connsiteY0" fmla="*/ 5618182 h 5618182"/>
              <a:gd name="connsiteX1" fmla="*/ 3592264 w 4992618"/>
              <a:gd name="connsiteY1" fmla="*/ 0 h 5618182"/>
              <a:gd name="connsiteX2" fmla="*/ 4992618 w 4992618"/>
              <a:gd name="connsiteY2" fmla="*/ 0 h 5618182"/>
              <a:gd name="connsiteX3" fmla="*/ 1375928 w 4992618"/>
              <a:gd name="connsiteY3" fmla="*/ 5606382 h 5618182"/>
              <a:gd name="connsiteX4" fmla="*/ 0 w 4992618"/>
              <a:gd name="connsiteY4" fmla="*/ 5618182 h 5618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92618" h="5618182">
                <a:moveTo>
                  <a:pt x="0" y="5618182"/>
                </a:moveTo>
                <a:lnTo>
                  <a:pt x="3592264" y="0"/>
                </a:lnTo>
                <a:lnTo>
                  <a:pt x="4992618" y="0"/>
                </a:lnTo>
                <a:lnTo>
                  <a:pt x="1375928" y="5606382"/>
                </a:lnTo>
                <a:lnTo>
                  <a:pt x="0" y="5618182"/>
                </a:lnTo>
                <a:close/>
              </a:path>
            </a:pathLst>
          </a:custGeom>
          <a:solidFill>
            <a:srgbClr val="6FC0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83BE2DC5-5BFD-50B3-FE07-BAEB353425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051" y="3578577"/>
            <a:ext cx="7469269" cy="716187"/>
          </a:xfrm>
          <a:prstGeom prst="rect">
            <a:avLst/>
          </a:prstGeom>
        </p:spPr>
        <p:txBody>
          <a:bodyPr lIns="0" tIns="0" rIns="182880" bIns="0" anchor="t">
            <a:noAutofit/>
          </a:bodyPr>
          <a:lstStyle>
            <a:lvl1pPr marL="406433" marR="0" indent="0" algn="l" defTabSz="9144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>
                <a:solidFill>
                  <a:srgbClr val="595959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1B561A8-71F6-0268-54C6-BCB89F6A8AB2}"/>
              </a:ext>
            </a:extLst>
          </p:cNvPr>
          <p:cNvSpPr txBox="1"/>
          <p:nvPr userDrawn="1"/>
        </p:nvSpPr>
        <p:spPr>
          <a:xfrm>
            <a:off x="437453" y="6674247"/>
            <a:ext cx="62308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 dirty="0">
                <a:solidFill>
                  <a:srgbClr val="54596A"/>
                </a:solidFill>
              </a:rPr>
              <a:t>© 2023 </a:t>
            </a:r>
            <a:r>
              <a:rPr lang="en-US" sz="800" dirty="0" err="1">
                <a:solidFill>
                  <a:srgbClr val="54596A"/>
                </a:solidFill>
              </a:rPr>
              <a:t>TPx</a:t>
            </a:r>
            <a:r>
              <a:rPr lang="en-US" sz="800" dirty="0">
                <a:solidFill>
                  <a:srgbClr val="54596A"/>
                </a:solidFill>
              </a:rPr>
              <a:t> Communications. Confidential Information.</a:t>
            </a:r>
          </a:p>
        </p:txBody>
      </p:sp>
    </p:spTree>
    <p:extLst>
      <p:ext uri="{BB962C8B-B14F-4D97-AF65-F5344CB8AC3E}">
        <p14:creationId xmlns:p14="http://schemas.microsoft.com/office/powerpoint/2010/main" val="5007963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arallelogram 3">
            <a:extLst>
              <a:ext uri="{FF2B5EF4-FFF2-40B4-BE49-F238E27FC236}">
                <a16:creationId xmlns:a16="http://schemas.microsoft.com/office/drawing/2014/main" id="{DB610535-F72F-C2C9-2C73-BD8272A5AC43}"/>
              </a:ext>
            </a:extLst>
          </p:cNvPr>
          <p:cNvSpPr/>
          <p:nvPr userDrawn="1"/>
        </p:nvSpPr>
        <p:spPr>
          <a:xfrm>
            <a:off x="8666439" y="-2073"/>
            <a:ext cx="2770758" cy="3556831"/>
          </a:xfrm>
          <a:custGeom>
            <a:avLst/>
            <a:gdLst>
              <a:gd name="connsiteX0" fmla="*/ 0 w 2032000"/>
              <a:gd name="connsiteY0" fmla="*/ 11811000 h 11811000"/>
              <a:gd name="connsiteX1" fmla="*/ 508000 w 2032000"/>
              <a:gd name="connsiteY1" fmla="*/ 0 h 11811000"/>
              <a:gd name="connsiteX2" fmla="*/ 2032000 w 2032000"/>
              <a:gd name="connsiteY2" fmla="*/ 0 h 11811000"/>
              <a:gd name="connsiteX3" fmla="*/ 1524000 w 2032000"/>
              <a:gd name="connsiteY3" fmla="*/ 11811000 h 11811000"/>
              <a:gd name="connsiteX4" fmla="*/ 0 w 2032000"/>
              <a:gd name="connsiteY4" fmla="*/ 11811000 h 11811000"/>
              <a:gd name="connsiteX0" fmla="*/ 0 w 7645400"/>
              <a:gd name="connsiteY0" fmla="*/ 11811000 h 11811000"/>
              <a:gd name="connsiteX1" fmla="*/ 508000 w 7645400"/>
              <a:gd name="connsiteY1" fmla="*/ 0 h 11811000"/>
              <a:gd name="connsiteX2" fmla="*/ 7645400 w 7645400"/>
              <a:gd name="connsiteY2" fmla="*/ 990600 h 11811000"/>
              <a:gd name="connsiteX3" fmla="*/ 1524000 w 7645400"/>
              <a:gd name="connsiteY3" fmla="*/ 11811000 h 11811000"/>
              <a:gd name="connsiteX4" fmla="*/ 0 w 7645400"/>
              <a:gd name="connsiteY4" fmla="*/ 11811000 h 11811000"/>
              <a:gd name="connsiteX0" fmla="*/ 0 w 7645400"/>
              <a:gd name="connsiteY0" fmla="*/ 10896600 h 10896600"/>
              <a:gd name="connsiteX1" fmla="*/ 5969000 w 7645400"/>
              <a:gd name="connsiteY1" fmla="*/ 0 h 10896600"/>
              <a:gd name="connsiteX2" fmla="*/ 7645400 w 7645400"/>
              <a:gd name="connsiteY2" fmla="*/ 76200 h 10896600"/>
              <a:gd name="connsiteX3" fmla="*/ 1524000 w 7645400"/>
              <a:gd name="connsiteY3" fmla="*/ 10896600 h 10896600"/>
              <a:gd name="connsiteX4" fmla="*/ 0 w 7645400"/>
              <a:gd name="connsiteY4" fmla="*/ 10896600 h 10896600"/>
              <a:gd name="connsiteX0" fmla="*/ 0 w 7645400"/>
              <a:gd name="connsiteY0" fmla="*/ 10820400 h 10820400"/>
              <a:gd name="connsiteX1" fmla="*/ 5943600 w 7645400"/>
              <a:gd name="connsiteY1" fmla="*/ 0 h 10820400"/>
              <a:gd name="connsiteX2" fmla="*/ 7645400 w 7645400"/>
              <a:gd name="connsiteY2" fmla="*/ 0 h 10820400"/>
              <a:gd name="connsiteX3" fmla="*/ 1524000 w 7645400"/>
              <a:gd name="connsiteY3" fmla="*/ 10820400 h 10820400"/>
              <a:gd name="connsiteX4" fmla="*/ 0 w 7645400"/>
              <a:gd name="connsiteY4" fmla="*/ 10820400 h 10820400"/>
              <a:gd name="connsiteX0" fmla="*/ 0 w 7645400"/>
              <a:gd name="connsiteY0" fmla="*/ 10833847 h 10833847"/>
              <a:gd name="connsiteX1" fmla="*/ 6064623 w 7645400"/>
              <a:gd name="connsiteY1" fmla="*/ 0 h 10833847"/>
              <a:gd name="connsiteX2" fmla="*/ 7645400 w 7645400"/>
              <a:gd name="connsiteY2" fmla="*/ 13447 h 10833847"/>
              <a:gd name="connsiteX3" fmla="*/ 1524000 w 7645400"/>
              <a:gd name="connsiteY3" fmla="*/ 10833847 h 10833847"/>
              <a:gd name="connsiteX4" fmla="*/ 0 w 7645400"/>
              <a:gd name="connsiteY4" fmla="*/ 10833847 h 10833847"/>
              <a:gd name="connsiteX0" fmla="*/ 0 w 7658847"/>
              <a:gd name="connsiteY0" fmla="*/ 10833847 h 10833847"/>
              <a:gd name="connsiteX1" fmla="*/ 6064623 w 7658847"/>
              <a:gd name="connsiteY1" fmla="*/ 0 h 10833847"/>
              <a:gd name="connsiteX2" fmla="*/ 7658847 w 7658847"/>
              <a:gd name="connsiteY2" fmla="*/ 0 h 10833847"/>
              <a:gd name="connsiteX3" fmla="*/ 1524000 w 7658847"/>
              <a:gd name="connsiteY3" fmla="*/ 10833847 h 10833847"/>
              <a:gd name="connsiteX4" fmla="*/ 0 w 7658847"/>
              <a:gd name="connsiteY4" fmla="*/ 10833847 h 10833847"/>
              <a:gd name="connsiteX0" fmla="*/ 0 w 8519458"/>
              <a:gd name="connsiteY0" fmla="*/ 10833847 h 10833847"/>
              <a:gd name="connsiteX1" fmla="*/ 6064623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519458"/>
              <a:gd name="connsiteY0" fmla="*/ 10833847 h 10833847"/>
              <a:gd name="connsiteX1" fmla="*/ 7167281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344463"/>
              <a:gd name="connsiteY0" fmla="*/ 10845647 h 10845647"/>
              <a:gd name="connsiteX1" fmla="*/ 6992286 w 8344463"/>
              <a:gd name="connsiteY1" fmla="*/ 0 h 10845647"/>
              <a:gd name="connsiteX2" fmla="*/ 8344463 w 8344463"/>
              <a:gd name="connsiteY2" fmla="*/ 0 h 10845647"/>
              <a:gd name="connsiteX3" fmla="*/ 1349005 w 8344463"/>
              <a:gd name="connsiteY3" fmla="*/ 10833847 h 10845647"/>
              <a:gd name="connsiteX4" fmla="*/ 0 w 8344463"/>
              <a:gd name="connsiteY4" fmla="*/ 10845647 h 10845647"/>
              <a:gd name="connsiteX0" fmla="*/ 0 w 8344463"/>
              <a:gd name="connsiteY0" fmla="*/ 10845647 h 10845647"/>
              <a:gd name="connsiteX1" fmla="*/ 6992286 w 8344463"/>
              <a:gd name="connsiteY1" fmla="*/ 0 h 10845647"/>
              <a:gd name="connsiteX2" fmla="*/ 8344463 w 8344463"/>
              <a:gd name="connsiteY2" fmla="*/ 0 h 10845647"/>
              <a:gd name="connsiteX3" fmla="*/ 3179732 w 8344463"/>
              <a:gd name="connsiteY3" fmla="*/ 8013612 h 10845647"/>
              <a:gd name="connsiteX4" fmla="*/ 0 w 8344463"/>
              <a:gd name="connsiteY4" fmla="*/ 10845647 h 10845647"/>
              <a:gd name="connsiteX0" fmla="*/ 0 w 6527198"/>
              <a:gd name="connsiteY0" fmla="*/ 8025412 h 8025412"/>
              <a:gd name="connsiteX1" fmla="*/ 5175021 w 6527198"/>
              <a:gd name="connsiteY1" fmla="*/ 0 h 8025412"/>
              <a:gd name="connsiteX2" fmla="*/ 6527198 w 6527198"/>
              <a:gd name="connsiteY2" fmla="*/ 0 h 8025412"/>
              <a:gd name="connsiteX3" fmla="*/ 1362467 w 6527198"/>
              <a:gd name="connsiteY3" fmla="*/ 8013612 h 8025412"/>
              <a:gd name="connsiteX4" fmla="*/ 0 w 6527198"/>
              <a:gd name="connsiteY4" fmla="*/ 8025412 h 8025412"/>
              <a:gd name="connsiteX0" fmla="*/ 0 w 6486815"/>
              <a:gd name="connsiteY0" fmla="*/ 8001812 h 8013612"/>
              <a:gd name="connsiteX1" fmla="*/ 5134638 w 6486815"/>
              <a:gd name="connsiteY1" fmla="*/ 0 h 8013612"/>
              <a:gd name="connsiteX2" fmla="*/ 6486815 w 6486815"/>
              <a:gd name="connsiteY2" fmla="*/ 0 h 8013612"/>
              <a:gd name="connsiteX3" fmla="*/ 1322084 w 6486815"/>
              <a:gd name="connsiteY3" fmla="*/ 8013612 h 8013612"/>
              <a:gd name="connsiteX4" fmla="*/ 0 w 6486815"/>
              <a:gd name="connsiteY4" fmla="*/ 8001812 h 8013612"/>
              <a:gd name="connsiteX0" fmla="*/ 0 w 6513737"/>
              <a:gd name="connsiteY0" fmla="*/ 8001812 h 8013612"/>
              <a:gd name="connsiteX1" fmla="*/ 5161560 w 6513737"/>
              <a:gd name="connsiteY1" fmla="*/ 0 h 8013612"/>
              <a:gd name="connsiteX2" fmla="*/ 6513737 w 6513737"/>
              <a:gd name="connsiteY2" fmla="*/ 0 h 8013612"/>
              <a:gd name="connsiteX3" fmla="*/ 1349006 w 6513737"/>
              <a:gd name="connsiteY3" fmla="*/ 8013612 h 8013612"/>
              <a:gd name="connsiteX4" fmla="*/ 0 w 6513737"/>
              <a:gd name="connsiteY4" fmla="*/ 8001812 h 8013612"/>
              <a:gd name="connsiteX0" fmla="*/ 0 w 6513737"/>
              <a:gd name="connsiteY0" fmla="*/ 8001812 h 8001812"/>
              <a:gd name="connsiteX1" fmla="*/ 5161560 w 6513737"/>
              <a:gd name="connsiteY1" fmla="*/ 0 h 8001812"/>
              <a:gd name="connsiteX2" fmla="*/ 6513737 w 6513737"/>
              <a:gd name="connsiteY2" fmla="*/ 0 h 8001812"/>
              <a:gd name="connsiteX3" fmla="*/ 2897047 w 6513737"/>
              <a:gd name="connsiteY3" fmla="*/ 5606382 h 8001812"/>
              <a:gd name="connsiteX4" fmla="*/ 0 w 6513737"/>
              <a:gd name="connsiteY4" fmla="*/ 8001812 h 8001812"/>
              <a:gd name="connsiteX0" fmla="*/ 0 w 4952235"/>
              <a:gd name="connsiteY0" fmla="*/ 5594582 h 5606382"/>
              <a:gd name="connsiteX1" fmla="*/ 3600058 w 4952235"/>
              <a:gd name="connsiteY1" fmla="*/ 0 h 5606382"/>
              <a:gd name="connsiteX2" fmla="*/ 4952235 w 4952235"/>
              <a:gd name="connsiteY2" fmla="*/ 0 h 5606382"/>
              <a:gd name="connsiteX3" fmla="*/ 1335545 w 4952235"/>
              <a:gd name="connsiteY3" fmla="*/ 5606382 h 5606382"/>
              <a:gd name="connsiteX4" fmla="*/ 0 w 4952235"/>
              <a:gd name="connsiteY4" fmla="*/ 5594582 h 5606382"/>
              <a:gd name="connsiteX0" fmla="*/ 0 w 4992618"/>
              <a:gd name="connsiteY0" fmla="*/ 5618182 h 5618182"/>
              <a:gd name="connsiteX1" fmla="*/ 3640441 w 4992618"/>
              <a:gd name="connsiteY1" fmla="*/ 0 h 5618182"/>
              <a:gd name="connsiteX2" fmla="*/ 4992618 w 4992618"/>
              <a:gd name="connsiteY2" fmla="*/ 0 h 5618182"/>
              <a:gd name="connsiteX3" fmla="*/ 1375928 w 4992618"/>
              <a:gd name="connsiteY3" fmla="*/ 5606382 h 5618182"/>
              <a:gd name="connsiteX4" fmla="*/ 0 w 4992618"/>
              <a:gd name="connsiteY4" fmla="*/ 5618182 h 5618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92618" h="5618182">
                <a:moveTo>
                  <a:pt x="0" y="5618182"/>
                </a:moveTo>
                <a:lnTo>
                  <a:pt x="3640441" y="0"/>
                </a:lnTo>
                <a:lnTo>
                  <a:pt x="4992618" y="0"/>
                </a:lnTo>
                <a:lnTo>
                  <a:pt x="1375928" y="5606382"/>
                </a:lnTo>
                <a:lnTo>
                  <a:pt x="0" y="5618182"/>
                </a:lnTo>
                <a:close/>
              </a:path>
            </a:pathLst>
          </a:custGeom>
          <a:solidFill>
            <a:srgbClr val="6FC0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2487E151-DB54-E337-F1D2-4373EBFEE1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7133" y="411744"/>
            <a:ext cx="2075676" cy="795676"/>
          </a:xfrm>
          <a:prstGeom prst="rect">
            <a:avLst/>
          </a:prstGeom>
        </p:spPr>
      </p:pic>
      <p:sp>
        <p:nvSpPr>
          <p:cNvPr id="4" name="Parallelogram 3">
            <a:extLst>
              <a:ext uri="{FF2B5EF4-FFF2-40B4-BE49-F238E27FC236}">
                <a16:creationId xmlns:a16="http://schemas.microsoft.com/office/drawing/2014/main" id="{FE69F5C7-970B-5249-7482-D87663ADBA94}"/>
              </a:ext>
            </a:extLst>
          </p:cNvPr>
          <p:cNvSpPr/>
          <p:nvPr userDrawn="1"/>
        </p:nvSpPr>
        <p:spPr>
          <a:xfrm>
            <a:off x="7528626" y="-3458"/>
            <a:ext cx="4630935" cy="6866301"/>
          </a:xfrm>
          <a:custGeom>
            <a:avLst/>
            <a:gdLst>
              <a:gd name="connsiteX0" fmla="*/ 0 w 2032000"/>
              <a:gd name="connsiteY0" fmla="*/ 11811000 h 11811000"/>
              <a:gd name="connsiteX1" fmla="*/ 508000 w 2032000"/>
              <a:gd name="connsiteY1" fmla="*/ 0 h 11811000"/>
              <a:gd name="connsiteX2" fmla="*/ 2032000 w 2032000"/>
              <a:gd name="connsiteY2" fmla="*/ 0 h 11811000"/>
              <a:gd name="connsiteX3" fmla="*/ 1524000 w 2032000"/>
              <a:gd name="connsiteY3" fmla="*/ 11811000 h 11811000"/>
              <a:gd name="connsiteX4" fmla="*/ 0 w 2032000"/>
              <a:gd name="connsiteY4" fmla="*/ 11811000 h 11811000"/>
              <a:gd name="connsiteX0" fmla="*/ 0 w 7645400"/>
              <a:gd name="connsiteY0" fmla="*/ 11811000 h 11811000"/>
              <a:gd name="connsiteX1" fmla="*/ 508000 w 7645400"/>
              <a:gd name="connsiteY1" fmla="*/ 0 h 11811000"/>
              <a:gd name="connsiteX2" fmla="*/ 7645400 w 7645400"/>
              <a:gd name="connsiteY2" fmla="*/ 990600 h 11811000"/>
              <a:gd name="connsiteX3" fmla="*/ 1524000 w 7645400"/>
              <a:gd name="connsiteY3" fmla="*/ 11811000 h 11811000"/>
              <a:gd name="connsiteX4" fmla="*/ 0 w 7645400"/>
              <a:gd name="connsiteY4" fmla="*/ 11811000 h 11811000"/>
              <a:gd name="connsiteX0" fmla="*/ 0 w 7645400"/>
              <a:gd name="connsiteY0" fmla="*/ 10896600 h 10896600"/>
              <a:gd name="connsiteX1" fmla="*/ 5969000 w 7645400"/>
              <a:gd name="connsiteY1" fmla="*/ 0 h 10896600"/>
              <a:gd name="connsiteX2" fmla="*/ 7645400 w 7645400"/>
              <a:gd name="connsiteY2" fmla="*/ 76200 h 10896600"/>
              <a:gd name="connsiteX3" fmla="*/ 1524000 w 7645400"/>
              <a:gd name="connsiteY3" fmla="*/ 10896600 h 10896600"/>
              <a:gd name="connsiteX4" fmla="*/ 0 w 7645400"/>
              <a:gd name="connsiteY4" fmla="*/ 10896600 h 10896600"/>
              <a:gd name="connsiteX0" fmla="*/ 0 w 7645400"/>
              <a:gd name="connsiteY0" fmla="*/ 10820400 h 10820400"/>
              <a:gd name="connsiteX1" fmla="*/ 5943600 w 7645400"/>
              <a:gd name="connsiteY1" fmla="*/ 0 h 10820400"/>
              <a:gd name="connsiteX2" fmla="*/ 7645400 w 7645400"/>
              <a:gd name="connsiteY2" fmla="*/ 0 h 10820400"/>
              <a:gd name="connsiteX3" fmla="*/ 1524000 w 7645400"/>
              <a:gd name="connsiteY3" fmla="*/ 10820400 h 10820400"/>
              <a:gd name="connsiteX4" fmla="*/ 0 w 7645400"/>
              <a:gd name="connsiteY4" fmla="*/ 10820400 h 10820400"/>
              <a:gd name="connsiteX0" fmla="*/ 0 w 7645400"/>
              <a:gd name="connsiteY0" fmla="*/ 10833847 h 10833847"/>
              <a:gd name="connsiteX1" fmla="*/ 6064623 w 7645400"/>
              <a:gd name="connsiteY1" fmla="*/ 0 h 10833847"/>
              <a:gd name="connsiteX2" fmla="*/ 7645400 w 7645400"/>
              <a:gd name="connsiteY2" fmla="*/ 13447 h 10833847"/>
              <a:gd name="connsiteX3" fmla="*/ 1524000 w 7645400"/>
              <a:gd name="connsiteY3" fmla="*/ 10833847 h 10833847"/>
              <a:gd name="connsiteX4" fmla="*/ 0 w 7645400"/>
              <a:gd name="connsiteY4" fmla="*/ 10833847 h 10833847"/>
              <a:gd name="connsiteX0" fmla="*/ 0 w 7658847"/>
              <a:gd name="connsiteY0" fmla="*/ 10833847 h 10833847"/>
              <a:gd name="connsiteX1" fmla="*/ 6064623 w 7658847"/>
              <a:gd name="connsiteY1" fmla="*/ 0 h 10833847"/>
              <a:gd name="connsiteX2" fmla="*/ 7658847 w 7658847"/>
              <a:gd name="connsiteY2" fmla="*/ 0 h 10833847"/>
              <a:gd name="connsiteX3" fmla="*/ 1524000 w 7658847"/>
              <a:gd name="connsiteY3" fmla="*/ 10833847 h 10833847"/>
              <a:gd name="connsiteX4" fmla="*/ 0 w 7658847"/>
              <a:gd name="connsiteY4" fmla="*/ 10833847 h 10833847"/>
              <a:gd name="connsiteX0" fmla="*/ 0 w 8519458"/>
              <a:gd name="connsiteY0" fmla="*/ 10833847 h 10833847"/>
              <a:gd name="connsiteX1" fmla="*/ 6064623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519458"/>
              <a:gd name="connsiteY0" fmla="*/ 10833847 h 10833847"/>
              <a:gd name="connsiteX1" fmla="*/ 7167281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344463"/>
              <a:gd name="connsiteY0" fmla="*/ 10845647 h 10845647"/>
              <a:gd name="connsiteX1" fmla="*/ 6992286 w 8344463"/>
              <a:gd name="connsiteY1" fmla="*/ 0 h 10845647"/>
              <a:gd name="connsiteX2" fmla="*/ 8344463 w 8344463"/>
              <a:gd name="connsiteY2" fmla="*/ 0 h 10845647"/>
              <a:gd name="connsiteX3" fmla="*/ 1349005 w 8344463"/>
              <a:gd name="connsiteY3" fmla="*/ 10833847 h 10845647"/>
              <a:gd name="connsiteX4" fmla="*/ 0 w 8344463"/>
              <a:gd name="connsiteY4" fmla="*/ 10845647 h 10845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344463" h="10845647">
                <a:moveTo>
                  <a:pt x="0" y="10845647"/>
                </a:moveTo>
                <a:lnTo>
                  <a:pt x="6992286" y="0"/>
                </a:lnTo>
                <a:lnTo>
                  <a:pt x="8344463" y="0"/>
                </a:lnTo>
                <a:lnTo>
                  <a:pt x="1349005" y="10833847"/>
                </a:lnTo>
                <a:lnTo>
                  <a:pt x="0" y="10845647"/>
                </a:lnTo>
                <a:close/>
              </a:path>
            </a:pathLst>
          </a:custGeom>
          <a:solidFill>
            <a:srgbClr val="007A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" name="Parallelogram 3">
            <a:extLst>
              <a:ext uri="{FF2B5EF4-FFF2-40B4-BE49-F238E27FC236}">
                <a16:creationId xmlns:a16="http://schemas.microsoft.com/office/drawing/2014/main" id="{96263AE2-FEAA-8804-9A45-EF7356AF06B2}"/>
              </a:ext>
            </a:extLst>
          </p:cNvPr>
          <p:cNvSpPr/>
          <p:nvPr userDrawn="1"/>
        </p:nvSpPr>
        <p:spPr>
          <a:xfrm>
            <a:off x="8244351" y="1780628"/>
            <a:ext cx="3614935" cy="5088301"/>
          </a:xfrm>
          <a:custGeom>
            <a:avLst/>
            <a:gdLst>
              <a:gd name="connsiteX0" fmla="*/ 0 w 2032000"/>
              <a:gd name="connsiteY0" fmla="*/ 11811000 h 11811000"/>
              <a:gd name="connsiteX1" fmla="*/ 508000 w 2032000"/>
              <a:gd name="connsiteY1" fmla="*/ 0 h 11811000"/>
              <a:gd name="connsiteX2" fmla="*/ 2032000 w 2032000"/>
              <a:gd name="connsiteY2" fmla="*/ 0 h 11811000"/>
              <a:gd name="connsiteX3" fmla="*/ 1524000 w 2032000"/>
              <a:gd name="connsiteY3" fmla="*/ 11811000 h 11811000"/>
              <a:gd name="connsiteX4" fmla="*/ 0 w 2032000"/>
              <a:gd name="connsiteY4" fmla="*/ 11811000 h 11811000"/>
              <a:gd name="connsiteX0" fmla="*/ 0 w 7645400"/>
              <a:gd name="connsiteY0" fmla="*/ 11811000 h 11811000"/>
              <a:gd name="connsiteX1" fmla="*/ 508000 w 7645400"/>
              <a:gd name="connsiteY1" fmla="*/ 0 h 11811000"/>
              <a:gd name="connsiteX2" fmla="*/ 7645400 w 7645400"/>
              <a:gd name="connsiteY2" fmla="*/ 990600 h 11811000"/>
              <a:gd name="connsiteX3" fmla="*/ 1524000 w 7645400"/>
              <a:gd name="connsiteY3" fmla="*/ 11811000 h 11811000"/>
              <a:gd name="connsiteX4" fmla="*/ 0 w 7645400"/>
              <a:gd name="connsiteY4" fmla="*/ 11811000 h 11811000"/>
              <a:gd name="connsiteX0" fmla="*/ 0 w 7645400"/>
              <a:gd name="connsiteY0" fmla="*/ 10896600 h 10896600"/>
              <a:gd name="connsiteX1" fmla="*/ 5969000 w 7645400"/>
              <a:gd name="connsiteY1" fmla="*/ 0 h 10896600"/>
              <a:gd name="connsiteX2" fmla="*/ 7645400 w 7645400"/>
              <a:gd name="connsiteY2" fmla="*/ 76200 h 10896600"/>
              <a:gd name="connsiteX3" fmla="*/ 1524000 w 7645400"/>
              <a:gd name="connsiteY3" fmla="*/ 10896600 h 10896600"/>
              <a:gd name="connsiteX4" fmla="*/ 0 w 7645400"/>
              <a:gd name="connsiteY4" fmla="*/ 10896600 h 10896600"/>
              <a:gd name="connsiteX0" fmla="*/ 0 w 7645400"/>
              <a:gd name="connsiteY0" fmla="*/ 10820400 h 10820400"/>
              <a:gd name="connsiteX1" fmla="*/ 5943600 w 7645400"/>
              <a:gd name="connsiteY1" fmla="*/ 0 h 10820400"/>
              <a:gd name="connsiteX2" fmla="*/ 7645400 w 7645400"/>
              <a:gd name="connsiteY2" fmla="*/ 0 h 10820400"/>
              <a:gd name="connsiteX3" fmla="*/ 1524000 w 7645400"/>
              <a:gd name="connsiteY3" fmla="*/ 10820400 h 10820400"/>
              <a:gd name="connsiteX4" fmla="*/ 0 w 7645400"/>
              <a:gd name="connsiteY4" fmla="*/ 10820400 h 10820400"/>
              <a:gd name="connsiteX0" fmla="*/ 0 w 7645400"/>
              <a:gd name="connsiteY0" fmla="*/ 10833847 h 10833847"/>
              <a:gd name="connsiteX1" fmla="*/ 6064623 w 7645400"/>
              <a:gd name="connsiteY1" fmla="*/ 0 h 10833847"/>
              <a:gd name="connsiteX2" fmla="*/ 7645400 w 7645400"/>
              <a:gd name="connsiteY2" fmla="*/ 13447 h 10833847"/>
              <a:gd name="connsiteX3" fmla="*/ 1524000 w 7645400"/>
              <a:gd name="connsiteY3" fmla="*/ 10833847 h 10833847"/>
              <a:gd name="connsiteX4" fmla="*/ 0 w 7645400"/>
              <a:gd name="connsiteY4" fmla="*/ 10833847 h 10833847"/>
              <a:gd name="connsiteX0" fmla="*/ 0 w 7658847"/>
              <a:gd name="connsiteY0" fmla="*/ 10833847 h 10833847"/>
              <a:gd name="connsiteX1" fmla="*/ 6064623 w 7658847"/>
              <a:gd name="connsiteY1" fmla="*/ 0 h 10833847"/>
              <a:gd name="connsiteX2" fmla="*/ 7658847 w 7658847"/>
              <a:gd name="connsiteY2" fmla="*/ 0 h 10833847"/>
              <a:gd name="connsiteX3" fmla="*/ 1524000 w 7658847"/>
              <a:gd name="connsiteY3" fmla="*/ 10833847 h 10833847"/>
              <a:gd name="connsiteX4" fmla="*/ 0 w 7658847"/>
              <a:gd name="connsiteY4" fmla="*/ 10833847 h 10833847"/>
              <a:gd name="connsiteX0" fmla="*/ 0 w 8519458"/>
              <a:gd name="connsiteY0" fmla="*/ 10833847 h 10833847"/>
              <a:gd name="connsiteX1" fmla="*/ 6064623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519458"/>
              <a:gd name="connsiteY0" fmla="*/ 10833847 h 10833847"/>
              <a:gd name="connsiteX1" fmla="*/ 7167281 w 8519458"/>
              <a:gd name="connsiteY1" fmla="*/ 0 h 10833847"/>
              <a:gd name="connsiteX2" fmla="*/ 8519458 w 8519458"/>
              <a:gd name="connsiteY2" fmla="*/ 0 h 10833847"/>
              <a:gd name="connsiteX3" fmla="*/ 1524000 w 8519458"/>
              <a:gd name="connsiteY3" fmla="*/ 10833847 h 10833847"/>
              <a:gd name="connsiteX4" fmla="*/ 0 w 8519458"/>
              <a:gd name="connsiteY4" fmla="*/ 10833847 h 10833847"/>
              <a:gd name="connsiteX0" fmla="*/ 0 w 8344463"/>
              <a:gd name="connsiteY0" fmla="*/ 10845647 h 10845647"/>
              <a:gd name="connsiteX1" fmla="*/ 6992286 w 8344463"/>
              <a:gd name="connsiteY1" fmla="*/ 0 h 10845647"/>
              <a:gd name="connsiteX2" fmla="*/ 8344463 w 8344463"/>
              <a:gd name="connsiteY2" fmla="*/ 0 h 10845647"/>
              <a:gd name="connsiteX3" fmla="*/ 1349005 w 8344463"/>
              <a:gd name="connsiteY3" fmla="*/ 10833847 h 10845647"/>
              <a:gd name="connsiteX4" fmla="*/ 0 w 8344463"/>
              <a:gd name="connsiteY4" fmla="*/ 10845647 h 10845647"/>
              <a:gd name="connsiteX0" fmla="*/ 0 w 8344463"/>
              <a:gd name="connsiteY0" fmla="*/ 10845647 h 10845647"/>
              <a:gd name="connsiteX1" fmla="*/ 6992286 w 8344463"/>
              <a:gd name="connsiteY1" fmla="*/ 0 h 10845647"/>
              <a:gd name="connsiteX2" fmla="*/ 8344463 w 8344463"/>
              <a:gd name="connsiteY2" fmla="*/ 0 h 10845647"/>
              <a:gd name="connsiteX3" fmla="*/ 3179732 w 8344463"/>
              <a:gd name="connsiteY3" fmla="*/ 8013612 h 10845647"/>
              <a:gd name="connsiteX4" fmla="*/ 0 w 8344463"/>
              <a:gd name="connsiteY4" fmla="*/ 10845647 h 10845647"/>
              <a:gd name="connsiteX0" fmla="*/ 0 w 6527198"/>
              <a:gd name="connsiteY0" fmla="*/ 8025412 h 8025412"/>
              <a:gd name="connsiteX1" fmla="*/ 5175021 w 6527198"/>
              <a:gd name="connsiteY1" fmla="*/ 0 h 8025412"/>
              <a:gd name="connsiteX2" fmla="*/ 6527198 w 6527198"/>
              <a:gd name="connsiteY2" fmla="*/ 0 h 8025412"/>
              <a:gd name="connsiteX3" fmla="*/ 1362467 w 6527198"/>
              <a:gd name="connsiteY3" fmla="*/ 8013612 h 8025412"/>
              <a:gd name="connsiteX4" fmla="*/ 0 w 6527198"/>
              <a:gd name="connsiteY4" fmla="*/ 8025412 h 8025412"/>
              <a:gd name="connsiteX0" fmla="*/ 0 w 6486815"/>
              <a:gd name="connsiteY0" fmla="*/ 8001812 h 8013612"/>
              <a:gd name="connsiteX1" fmla="*/ 5134638 w 6486815"/>
              <a:gd name="connsiteY1" fmla="*/ 0 h 8013612"/>
              <a:gd name="connsiteX2" fmla="*/ 6486815 w 6486815"/>
              <a:gd name="connsiteY2" fmla="*/ 0 h 8013612"/>
              <a:gd name="connsiteX3" fmla="*/ 1322084 w 6486815"/>
              <a:gd name="connsiteY3" fmla="*/ 8013612 h 8013612"/>
              <a:gd name="connsiteX4" fmla="*/ 0 w 6486815"/>
              <a:gd name="connsiteY4" fmla="*/ 8001812 h 8013612"/>
              <a:gd name="connsiteX0" fmla="*/ 0 w 6513737"/>
              <a:gd name="connsiteY0" fmla="*/ 8001812 h 8013612"/>
              <a:gd name="connsiteX1" fmla="*/ 5161560 w 6513737"/>
              <a:gd name="connsiteY1" fmla="*/ 0 h 8013612"/>
              <a:gd name="connsiteX2" fmla="*/ 6513737 w 6513737"/>
              <a:gd name="connsiteY2" fmla="*/ 0 h 8013612"/>
              <a:gd name="connsiteX3" fmla="*/ 1349006 w 6513737"/>
              <a:gd name="connsiteY3" fmla="*/ 8013612 h 8013612"/>
              <a:gd name="connsiteX4" fmla="*/ 0 w 6513737"/>
              <a:gd name="connsiteY4" fmla="*/ 8001812 h 8013612"/>
              <a:gd name="connsiteX0" fmla="*/ 0 w 6513737"/>
              <a:gd name="connsiteY0" fmla="*/ 8001812 h 8013612"/>
              <a:gd name="connsiteX1" fmla="*/ 5201944 w 6513737"/>
              <a:gd name="connsiteY1" fmla="*/ 0 h 8013612"/>
              <a:gd name="connsiteX2" fmla="*/ 6513737 w 6513737"/>
              <a:gd name="connsiteY2" fmla="*/ 0 h 8013612"/>
              <a:gd name="connsiteX3" fmla="*/ 1349006 w 6513737"/>
              <a:gd name="connsiteY3" fmla="*/ 8013612 h 8013612"/>
              <a:gd name="connsiteX4" fmla="*/ 0 w 6513737"/>
              <a:gd name="connsiteY4" fmla="*/ 8001812 h 8013612"/>
              <a:gd name="connsiteX0" fmla="*/ 0 w 6513737"/>
              <a:gd name="connsiteY0" fmla="*/ 8025412 h 8037212"/>
              <a:gd name="connsiteX1" fmla="*/ 5228867 w 6513737"/>
              <a:gd name="connsiteY1" fmla="*/ 0 h 8037212"/>
              <a:gd name="connsiteX2" fmla="*/ 6513737 w 6513737"/>
              <a:gd name="connsiteY2" fmla="*/ 23600 h 8037212"/>
              <a:gd name="connsiteX3" fmla="*/ 1349006 w 6513737"/>
              <a:gd name="connsiteY3" fmla="*/ 8037212 h 8037212"/>
              <a:gd name="connsiteX4" fmla="*/ 0 w 6513737"/>
              <a:gd name="connsiteY4" fmla="*/ 8025412 h 8037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13737" h="8037212">
                <a:moveTo>
                  <a:pt x="0" y="8025412"/>
                </a:moveTo>
                <a:lnTo>
                  <a:pt x="5228867" y="0"/>
                </a:lnTo>
                <a:lnTo>
                  <a:pt x="6513737" y="23600"/>
                </a:lnTo>
                <a:lnTo>
                  <a:pt x="1349006" y="8037212"/>
                </a:lnTo>
                <a:lnTo>
                  <a:pt x="0" y="8025412"/>
                </a:lnTo>
                <a:close/>
              </a:path>
            </a:pathLst>
          </a:custGeom>
          <a:solidFill>
            <a:srgbClr val="045E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A271DC8-56D9-6281-ECC4-585F93A8AD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51" y="2467495"/>
            <a:ext cx="8543157" cy="1107440"/>
          </a:xfrm>
        </p:spPr>
        <p:txBody>
          <a:bodyPr anchor="b"/>
          <a:lstStyle>
            <a:lvl1pPr marL="91440">
              <a:defRPr sz="4889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Click to edit divider title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87F9FA80-DD1F-4E3F-D1C0-3063B39FEF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052" y="3578577"/>
            <a:ext cx="8543156" cy="716187"/>
          </a:xfrm>
          <a:prstGeom prst="rect">
            <a:avLst/>
          </a:prstGeom>
        </p:spPr>
        <p:txBody>
          <a:bodyPr lIns="0" tIns="0" rIns="182880" bIns="0" anchor="t">
            <a:noAutofit/>
          </a:bodyPr>
          <a:lstStyle>
            <a:lvl1pPr marL="406433" marR="0" indent="0" algn="l" defTabSz="9144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>
                <a:solidFill>
                  <a:srgbClr val="595959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D9E210D-4808-C7EE-6AB7-D1DA5F4BEE02}"/>
              </a:ext>
            </a:extLst>
          </p:cNvPr>
          <p:cNvSpPr txBox="1"/>
          <p:nvPr userDrawn="1"/>
        </p:nvSpPr>
        <p:spPr>
          <a:xfrm>
            <a:off x="437453" y="6673805"/>
            <a:ext cx="62308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 dirty="0">
                <a:solidFill>
                  <a:srgbClr val="54596A"/>
                </a:solidFill>
              </a:rPr>
              <a:t>© 2023 </a:t>
            </a:r>
            <a:r>
              <a:rPr lang="en-US" sz="800" dirty="0" err="1">
                <a:solidFill>
                  <a:srgbClr val="54596A"/>
                </a:solidFill>
              </a:rPr>
              <a:t>TPx</a:t>
            </a:r>
            <a:r>
              <a:rPr lang="en-US" sz="800" dirty="0">
                <a:solidFill>
                  <a:srgbClr val="54596A"/>
                </a:solidFill>
              </a:rPr>
              <a:t> Communications. Confidential Information.</a:t>
            </a:r>
          </a:p>
        </p:txBody>
      </p:sp>
    </p:spTree>
    <p:extLst>
      <p:ext uri="{BB962C8B-B14F-4D97-AF65-F5344CB8AC3E}">
        <p14:creationId xmlns:p14="http://schemas.microsoft.com/office/powerpoint/2010/main" val="10390858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2487E151-DB54-E337-F1D2-4373EBFEE1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7133" y="411744"/>
            <a:ext cx="2075676" cy="79567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7395FA91-6852-435A-EFC3-1AF4092B5FC9}"/>
              </a:ext>
            </a:extLst>
          </p:cNvPr>
          <p:cNvSpPr/>
          <p:nvPr userDrawn="1"/>
        </p:nvSpPr>
        <p:spPr>
          <a:xfrm>
            <a:off x="0" y="3715113"/>
            <a:ext cx="10409544" cy="563702"/>
          </a:xfrm>
          <a:custGeom>
            <a:avLst/>
            <a:gdLst>
              <a:gd name="connsiteX0" fmla="*/ 0 w 18737179"/>
              <a:gd name="connsiteY0" fmla="*/ 0 h 1014663"/>
              <a:gd name="connsiteX1" fmla="*/ 18737179 w 18737179"/>
              <a:gd name="connsiteY1" fmla="*/ 0 h 1014663"/>
              <a:gd name="connsiteX2" fmla="*/ 18737179 w 18737179"/>
              <a:gd name="connsiteY2" fmla="*/ 1014663 h 1014663"/>
              <a:gd name="connsiteX3" fmla="*/ 0 w 18737179"/>
              <a:gd name="connsiteY3" fmla="*/ 1014663 h 1014663"/>
              <a:gd name="connsiteX4" fmla="*/ 0 w 18737179"/>
              <a:gd name="connsiteY4" fmla="*/ 0 h 1014663"/>
              <a:gd name="connsiteX0" fmla="*/ 0 w 18737179"/>
              <a:gd name="connsiteY0" fmla="*/ 0 h 1014663"/>
              <a:gd name="connsiteX1" fmla="*/ 17469853 w 18737179"/>
              <a:gd name="connsiteY1" fmla="*/ 16042 h 1014663"/>
              <a:gd name="connsiteX2" fmla="*/ 18737179 w 18737179"/>
              <a:gd name="connsiteY2" fmla="*/ 1014663 h 1014663"/>
              <a:gd name="connsiteX3" fmla="*/ 0 w 18737179"/>
              <a:gd name="connsiteY3" fmla="*/ 1014663 h 1014663"/>
              <a:gd name="connsiteX4" fmla="*/ 0 w 18737179"/>
              <a:gd name="connsiteY4" fmla="*/ 0 h 1014663"/>
              <a:gd name="connsiteX0" fmla="*/ 0 w 18737179"/>
              <a:gd name="connsiteY0" fmla="*/ 0 h 1014663"/>
              <a:gd name="connsiteX1" fmla="*/ 17919031 w 18737179"/>
              <a:gd name="connsiteY1" fmla="*/ 16042 h 1014663"/>
              <a:gd name="connsiteX2" fmla="*/ 18737179 w 18737179"/>
              <a:gd name="connsiteY2" fmla="*/ 1014663 h 1014663"/>
              <a:gd name="connsiteX3" fmla="*/ 0 w 18737179"/>
              <a:gd name="connsiteY3" fmla="*/ 1014663 h 1014663"/>
              <a:gd name="connsiteX4" fmla="*/ 0 w 18737179"/>
              <a:gd name="connsiteY4" fmla="*/ 0 h 1014663"/>
              <a:gd name="connsiteX0" fmla="*/ 0 w 18737179"/>
              <a:gd name="connsiteY0" fmla="*/ 0 h 1014663"/>
              <a:gd name="connsiteX1" fmla="*/ 17951116 w 18737179"/>
              <a:gd name="connsiteY1" fmla="*/ 0 h 1014663"/>
              <a:gd name="connsiteX2" fmla="*/ 18737179 w 18737179"/>
              <a:gd name="connsiteY2" fmla="*/ 1014663 h 1014663"/>
              <a:gd name="connsiteX3" fmla="*/ 0 w 18737179"/>
              <a:gd name="connsiteY3" fmla="*/ 1014663 h 1014663"/>
              <a:gd name="connsiteX4" fmla="*/ 0 w 18737179"/>
              <a:gd name="connsiteY4" fmla="*/ 0 h 1014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37179" h="1014663">
                <a:moveTo>
                  <a:pt x="0" y="0"/>
                </a:moveTo>
                <a:lnTo>
                  <a:pt x="17951116" y="0"/>
                </a:lnTo>
                <a:lnTo>
                  <a:pt x="18737179" y="1014663"/>
                </a:lnTo>
                <a:lnTo>
                  <a:pt x="0" y="1014663"/>
                </a:lnTo>
                <a:lnTo>
                  <a:pt x="0" y="0"/>
                </a:lnTo>
                <a:close/>
              </a:path>
            </a:pathLst>
          </a:custGeom>
          <a:solidFill>
            <a:srgbClr val="007A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672C51F4-2BC4-FF40-66BC-5D7FCD60C1F7}"/>
              </a:ext>
            </a:extLst>
          </p:cNvPr>
          <p:cNvSpPr/>
          <p:nvPr userDrawn="1"/>
        </p:nvSpPr>
        <p:spPr>
          <a:xfrm>
            <a:off x="-1357" y="4278816"/>
            <a:ext cx="8820059" cy="566969"/>
          </a:xfrm>
          <a:custGeom>
            <a:avLst/>
            <a:gdLst>
              <a:gd name="connsiteX0" fmla="*/ 0 w 18737179"/>
              <a:gd name="connsiteY0" fmla="*/ 0 h 1014663"/>
              <a:gd name="connsiteX1" fmla="*/ 18737179 w 18737179"/>
              <a:gd name="connsiteY1" fmla="*/ 0 h 1014663"/>
              <a:gd name="connsiteX2" fmla="*/ 18737179 w 18737179"/>
              <a:gd name="connsiteY2" fmla="*/ 1014663 h 1014663"/>
              <a:gd name="connsiteX3" fmla="*/ 0 w 18737179"/>
              <a:gd name="connsiteY3" fmla="*/ 1014663 h 1014663"/>
              <a:gd name="connsiteX4" fmla="*/ 0 w 18737179"/>
              <a:gd name="connsiteY4" fmla="*/ 0 h 1014663"/>
              <a:gd name="connsiteX0" fmla="*/ 0 w 18737179"/>
              <a:gd name="connsiteY0" fmla="*/ 0 h 1014663"/>
              <a:gd name="connsiteX1" fmla="*/ 17469853 w 18737179"/>
              <a:gd name="connsiteY1" fmla="*/ 16042 h 1014663"/>
              <a:gd name="connsiteX2" fmla="*/ 18737179 w 18737179"/>
              <a:gd name="connsiteY2" fmla="*/ 1014663 h 1014663"/>
              <a:gd name="connsiteX3" fmla="*/ 0 w 18737179"/>
              <a:gd name="connsiteY3" fmla="*/ 1014663 h 1014663"/>
              <a:gd name="connsiteX4" fmla="*/ 0 w 18737179"/>
              <a:gd name="connsiteY4" fmla="*/ 0 h 1014663"/>
              <a:gd name="connsiteX0" fmla="*/ 0 w 18737179"/>
              <a:gd name="connsiteY0" fmla="*/ 0 h 1014663"/>
              <a:gd name="connsiteX1" fmla="*/ 17919031 w 18737179"/>
              <a:gd name="connsiteY1" fmla="*/ 16042 h 1014663"/>
              <a:gd name="connsiteX2" fmla="*/ 18737179 w 18737179"/>
              <a:gd name="connsiteY2" fmla="*/ 1014663 h 1014663"/>
              <a:gd name="connsiteX3" fmla="*/ 0 w 18737179"/>
              <a:gd name="connsiteY3" fmla="*/ 1014663 h 1014663"/>
              <a:gd name="connsiteX4" fmla="*/ 0 w 18737179"/>
              <a:gd name="connsiteY4" fmla="*/ 0 h 1014663"/>
              <a:gd name="connsiteX0" fmla="*/ 0 w 18737179"/>
              <a:gd name="connsiteY0" fmla="*/ 0 h 1014663"/>
              <a:gd name="connsiteX1" fmla="*/ 17951116 w 18737179"/>
              <a:gd name="connsiteY1" fmla="*/ 0 h 1014663"/>
              <a:gd name="connsiteX2" fmla="*/ 18737179 w 18737179"/>
              <a:gd name="connsiteY2" fmla="*/ 1014663 h 1014663"/>
              <a:gd name="connsiteX3" fmla="*/ 0 w 18737179"/>
              <a:gd name="connsiteY3" fmla="*/ 1014663 h 1014663"/>
              <a:gd name="connsiteX4" fmla="*/ 0 w 18737179"/>
              <a:gd name="connsiteY4" fmla="*/ 0 h 1014663"/>
              <a:gd name="connsiteX0" fmla="*/ 2839453 w 18737179"/>
              <a:gd name="connsiteY0" fmla="*/ 16042 h 1014663"/>
              <a:gd name="connsiteX1" fmla="*/ 17951116 w 18737179"/>
              <a:gd name="connsiteY1" fmla="*/ 0 h 1014663"/>
              <a:gd name="connsiteX2" fmla="*/ 18737179 w 18737179"/>
              <a:gd name="connsiteY2" fmla="*/ 1014663 h 1014663"/>
              <a:gd name="connsiteX3" fmla="*/ 0 w 18737179"/>
              <a:gd name="connsiteY3" fmla="*/ 1014663 h 1014663"/>
              <a:gd name="connsiteX4" fmla="*/ 2839453 w 18737179"/>
              <a:gd name="connsiteY4" fmla="*/ 16042 h 1014663"/>
              <a:gd name="connsiteX0" fmla="*/ 0 w 15897726"/>
              <a:gd name="connsiteY0" fmla="*/ 16042 h 1030705"/>
              <a:gd name="connsiteX1" fmla="*/ 15111663 w 15897726"/>
              <a:gd name="connsiteY1" fmla="*/ 0 h 1030705"/>
              <a:gd name="connsiteX2" fmla="*/ 15897726 w 15897726"/>
              <a:gd name="connsiteY2" fmla="*/ 1014663 h 1030705"/>
              <a:gd name="connsiteX3" fmla="*/ 32084 w 15897726"/>
              <a:gd name="connsiteY3" fmla="*/ 1030705 h 1030705"/>
              <a:gd name="connsiteX4" fmla="*/ 0 w 15897726"/>
              <a:gd name="connsiteY4" fmla="*/ 16042 h 1030705"/>
              <a:gd name="connsiteX0" fmla="*/ 16042 w 15865642"/>
              <a:gd name="connsiteY0" fmla="*/ 48126 h 1030705"/>
              <a:gd name="connsiteX1" fmla="*/ 15079579 w 15865642"/>
              <a:gd name="connsiteY1" fmla="*/ 0 h 1030705"/>
              <a:gd name="connsiteX2" fmla="*/ 15865642 w 15865642"/>
              <a:gd name="connsiteY2" fmla="*/ 1014663 h 1030705"/>
              <a:gd name="connsiteX3" fmla="*/ 0 w 15865642"/>
              <a:gd name="connsiteY3" fmla="*/ 1030705 h 1030705"/>
              <a:gd name="connsiteX4" fmla="*/ 16042 w 15865642"/>
              <a:gd name="connsiteY4" fmla="*/ 48126 h 1030705"/>
              <a:gd name="connsiteX0" fmla="*/ 0 w 15881684"/>
              <a:gd name="connsiteY0" fmla="*/ 32084 h 1030705"/>
              <a:gd name="connsiteX1" fmla="*/ 15095621 w 15881684"/>
              <a:gd name="connsiteY1" fmla="*/ 0 h 1030705"/>
              <a:gd name="connsiteX2" fmla="*/ 15881684 w 15881684"/>
              <a:gd name="connsiteY2" fmla="*/ 1014663 h 1030705"/>
              <a:gd name="connsiteX3" fmla="*/ 16042 w 15881684"/>
              <a:gd name="connsiteY3" fmla="*/ 1030705 h 1030705"/>
              <a:gd name="connsiteX4" fmla="*/ 0 w 15881684"/>
              <a:gd name="connsiteY4" fmla="*/ 32084 h 1030705"/>
              <a:gd name="connsiteX0" fmla="*/ 0 w 15871524"/>
              <a:gd name="connsiteY0" fmla="*/ 1604 h 1030705"/>
              <a:gd name="connsiteX1" fmla="*/ 15085461 w 15871524"/>
              <a:gd name="connsiteY1" fmla="*/ 0 h 1030705"/>
              <a:gd name="connsiteX2" fmla="*/ 15871524 w 15871524"/>
              <a:gd name="connsiteY2" fmla="*/ 1014663 h 1030705"/>
              <a:gd name="connsiteX3" fmla="*/ 5882 w 15871524"/>
              <a:gd name="connsiteY3" fmla="*/ 1030705 h 1030705"/>
              <a:gd name="connsiteX4" fmla="*/ 0 w 15871524"/>
              <a:gd name="connsiteY4" fmla="*/ 1604 h 1030705"/>
              <a:gd name="connsiteX0" fmla="*/ 4583 w 15876107"/>
              <a:gd name="connsiteY0" fmla="*/ 1604 h 1020545"/>
              <a:gd name="connsiteX1" fmla="*/ 15090044 w 15876107"/>
              <a:gd name="connsiteY1" fmla="*/ 0 h 1020545"/>
              <a:gd name="connsiteX2" fmla="*/ 15876107 w 15876107"/>
              <a:gd name="connsiteY2" fmla="*/ 1014663 h 1020545"/>
              <a:gd name="connsiteX3" fmla="*/ 305 w 15876107"/>
              <a:gd name="connsiteY3" fmla="*/ 1020545 h 1020545"/>
              <a:gd name="connsiteX4" fmla="*/ 4583 w 15876107"/>
              <a:gd name="connsiteY4" fmla="*/ 1604 h 1020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876107" h="1020545">
                <a:moveTo>
                  <a:pt x="4583" y="1604"/>
                </a:moveTo>
                <a:lnTo>
                  <a:pt x="15090044" y="0"/>
                </a:lnTo>
                <a:lnTo>
                  <a:pt x="15876107" y="1014663"/>
                </a:lnTo>
                <a:lnTo>
                  <a:pt x="305" y="1020545"/>
                </a:lnTo>
                <a:cubicBezTo>
                  <a:pt x="-1656" y="677511"/>
                  <a:pt x="6544" y="344638"/>
                  <a:pt x="4583" y="1604"/>
                </a:cubicBezTo>
                <a:close/>
              </a:path>
            </a:pathLst>
          </a:custGeom>
          <a:solidFill>
            <a:srgbClr val="045E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2" name="Rectangle 2">
            <a:extLst>
              <a:ext uri="{FF2B5EF4-FFF2-40B4-BE49-F238E27FC236}">
                <a16:creationId xmlns:a16="http://schemas.microsoft.com/office/drawing/2014/main" id="{66E11824-286F-5BB1-8C73-1099CFECBF93}"/>
              </a:ext>
            </a:extLst>
          </p:cNvPr>
          <p:cNvSpPr/>
          <p:nvPr userDrawn="1"/>
        </p:nvSpPr>
        <p:spPr>
          <a:xfrm flipH="1" flipV="1">
            <a:off x="6650409" y="3139734"/>
            <a:ext cx="5558510" cy="577367"/>
          </a:xfrm>
          <a:custGeom>
            <a:avLst/>
            <a:gdLst>
              <a:gd name="connsiteX0" fmla="*/ 0 w 18737179"/>
              <a:gd name="connsiteY0" fmla="*/ 0 h 1014663"/>
              <a:gd name="connsiteX1" fmla="*/ 18737179 w 18737179"/>
              <a:gd name="connsiteY1" fmla="*/ 0 h 1014663"/>
              <a:gd name="connsiteX2" fmla="*/ 18737179 w 18737179"/>
              <a:gd name="connsiteY2" fmla="*/ 1014663 h 1014663"/>
              <a:gd name="connsiteX3" fmla="*/ 0 w 18737179"/>
              <a:gd name="connsiteY3" fmla="*/ 1014663 h 1014663"/>
              <a:gd name="connsiteX4" fmla="*/ 0 w 18737179"/>
              <a:gd name="connsiteY4" fmla="*/ 0 h 1014663"/>
              <a:gd name="connsiteX0" fmla="*/ 0 w 18737179"/>
              <a:gd name="connsiteY0" fmla="*/ 0 h 1014663"/>
              <a:gd name="connsiteX1" fmla="*/ 17469853 w 18737179"/>
              <a:gd name="connsiteY1" fmla="*/ 16042 h 1014663"/>
              <a:gd name="connsiteX2" fmla="*/ 18737179 w 18737179"/>
              <a:gd name="connsiteY2" fmla="*/ 1014663 h 1014663"/>
              <a:gd name="connsiteX3" fmla="*/ 0 w 18737179"/>
              <a:gd name="connsiteY3" fmla="*/ 1014663 h 1014663"/>
              <a:gd name="connsiteX4" fmla="*/ 0 w 18737179"/>
              <a:gd name="connsiteY4" fmla="*/ 0 h 1014663"/>
              <a:gd name="connsiteX0" fmla="*/ 0 w 18737179"/>
              <a:gd name="connsiteY0" fmla="*/ 0 h 1014663"/>
              <a:gd name="connsiteX1" fmla="*/ 17919031 w 18737179"/>
              <a:gd name="connsiteY1" fmla="*/ 16042 h 1014663"/>
              <a:gd name="connsiteX2" fmla="*/ 18737179 w 18737179"/>
              <a:gd name="connsiteY2" fmla="*/ 1014663 h 1014663"/>
              <a:gd name="connsiteX3" fmla="*/ 0 w 18737179"/>
              <a:gd name="connsiteY3" fmla="*/ 1014663 h 1014663"/>
              <a:gd name="connsiteX4" fmla="*/ 0 w 18737179"/>
              <a:gd name="connsiteY4" fmla="*/ 0 h 1014663"/>
              <a:gd name="connsiteX0" fmla="*/ 0 w 18737179"/>
              <a:gd name="connsiteY0" fmla="*/ 0 h 1014663"/>
              <a:gd name="connsiteX1" fmla="*/ 17951116 w 18737179"/>
              <a:gd name="connsiteY1" fmla="*/ 0 h 1014663"/>
              <a:gd name="connsiteX2" fmla="*/ 18737179 w 18737179"/>
              <a:gd name="connsiteY2" fmla="*/ 1014663 h 1014663"/>
              <a:gd name="connsiteX3" fmla="*/ 0 w 18737179"/>
              <a:gd name="connsiteY3" fmla="*/ 1014663 h 1014663"/>
              <a:gd name="connsiteX4" fmla="*/ 0 w 18737179"/>
              <a:gd name="connsiteY4" fmla="*/ 0 h 1014663"/>
              <a:gd name="connsiteX0" fmla="*/ 2839453 w 18737179"/>
              <a:gd name="connsiteY0" fmla="*/ 16042 h 1014663"/>
              <a:gd name="connsiteX1" fmla="*/ 17951116 w 18737179"/>
              <a:gd name="connsiteY1" fmla="*/ 0 h 1014663"/>
              <a:gd name="connsiteX2" fmla="*/ 18737179 w 18737179"/>
              <a:gd name="connsiteY2" fmla="*/ 1014663 h 1014663"/>
              <a:gd name="connsiteX3" fmla="*/ 0 w 18737179"/>
              <a:gd name="connsiteY3" fmla="*/ 1014663 h 1014663"/>
              <a:gd name="connsiteX4" fmla="*/ 2839453 w 18737179"/>
              <a:gd name="connsiteY4" fmla="*/ 16042 h 1014663"/>
              <a:gd name="connsiteX0" fmla="*/ 0 w 15897726"/>
              <a:gd name="connsiteY0" fmla="*/ 16042 h 1030705"/>
              <a:gd name="connsiteX1" fmla="*/ 15111663 w 15897726"/>
              <a:gd name="connsiteY1" fmla="*/ 0 h 1030705"/>
              <a:gd name="connsiteX2" fmla="*/ 15897726 w 15897726"/>
              <a:gd name="connsiteY2" fmla="*/ 1014663 h 1030705"/>
              <a:gd name="connsiteX3" fmla="*/ 32084 w 15897726"/>
              <a:gd name="connsiteY3" fmla="*/ 1030705 h 1030705"/>
              <a:gd name="connsiteX4" fmla="*/ 0 w 15897726"/>
              <a:gd name="connsiteY4" fmla="*/ 16042 h 1030705"/>
              <a:gd name="connsiteX0" fmla="*/ 16042 w 15865642"/>
              <a:gd name="connsiteY0" fmla="*/ 48126 h 1030705"/>
              <a:gd name="connsiteX1" fmla="*/ 15079579 w 15865642"/>
              <a:gd name="connsiteY1" fmla="*/ 0 h 1030705"/>
              <a:gd name="connsiteX2" fmla="*/ 15865642 w 15865642"/>
              <a:gd name="connsiteY2" fmla="*/ 1014663 h 1030705"/>
              <a:gd name="connsiteX3" fmla="*/ 0 w 15865642"/>
              <a:gd name="connsiteY3" fmla="*/ 1030705 h 1030705"/>
              <a:gd name="connsiteX4" fmla="*/ 16042 w 15865642"/>
              <a:gd name="connsiteY4" fmla="*/ 48126 h 1030705"/>
              <a:gd name="connsiteX0" fmla="*/ 0 w 15881684"/>
              <a:gd name="connsiteY0" fmla="*/ 32084 h 1030705"/>
              <a:gd name="connsiteX1" fmla="*/ 15095621 w 15881684"/>
              <a:gd name="connsiteY1" fmla="*/ 0 h 1030705"/>
              <a:gd name="connsiteX2" fmla="*/ 15881684 w 15881684"/>
              <a:gd name="connsiteY2" fmla="*/ 1014663 h 1030705"/>
              <a:gd name="connsiteX3" fmla="*/ 16042 w 15881684"/>
              <a:gd name="connsiteY3" fmla="*/ 1030705 h 1030705"/>
              <a:gd name="connsiteX4" fmla="*/ 0 w 15881684"/>
              <a:gd name="connsiteY4" fmla="*/ 32084 h 1030705"/>
              <a:gd name="connsiteX0" fmla="*/ 0 w 15871524"/>
              <a:gd name="connsiteY0" fmla="*/ 1604 h 1030705"/>
              <a:gd name="connsiteX1" fmla="*/ 15085461 w 15871524"/>
              <a:gd name="connsiteY1" fmla="*/ 0 h 1030705"/>
              <a:gd name="connsiteX2" fmla="*/ 15871524 w 15871524"/>
              <a:gd name="connsiteY2" fmla="*/ 1014663 h 1030705"/>
              <a:gd name="connsiteX3" fmla="*/ 5882 w 15871524"/>
              <a:gd name="connsiteY3" fmla="*/ 1030705 h 1030705"/>
              <a:gd name="connsiteX4" fmla="*/ 0 w 15871524"/>
              <a:gd name="connsiteY4" fmla="*/ 1604 h 1030705"/>
              <a:gd name="connsiteX0" fmla="*/ 4583 w 15876107"/>
              <a:gd name="connsiteY0" fmla="*/ 1604 h 1020545"/>
              <a:gd name="connsiteX1" fmla="*/ 15090044 w 15876107"/>
              <a:gd name="connsiteY1" fmla="*/ 0 h 1020545"/>
              <a:gd name="connsiteX2" fmla="*/ 15876107 w 15876107"/>
              <a:gd name="connsiteY2" fmla="*/ 1014663 h 1020545"/>
              <a:gd name="connsiteX3" fmla="*/ 305 w 15876107"/>
              <a:gd name="connsiteY3" fmla="*/ 1020545 h 1020545"/>
              <a:gd name="connsiteX4" fmla="*/ 4583 w 15876107"/>
              <a:gd name="connsiteY4" fmla="*/ 1604 h 1020545"/>
              <a:gd name="connsiteX0" fmla="*/ 5284838 w 15875803"/>
              <a:gd name="connsiteY0" fmla="*/ 0 h 1029101"/>
              <a:gd name="connsiteX1" fmla="*/ 15089740 w 15875803"/>
              <a:gd name="connsiteY1" fmla="*/ 8556 h 1029101"/>
              <a:gd name="connsiteX2" fmla="*/ 15875803 w 15875803"/>
              <a:gd name="connsiteY2" fmla="*/ 1023219 h 1029101"/>
              <a:gd name="connsiteX3" fmla="*/ 1 w 15875803"/>
              <a:gd name="connsiteY3" fmla="*/ 1029101 h 1029101"/>
              <a:gd name="connsiteX4" fmla="*/ 5284838 w 15875803"/>
              <a:gd name="connsiteY4" fmla="*/ 0 h 1029101"/>
              <a:gd name="connsiteX0" fmla="*/ 0 w 10590965"/>
              <a:gd name="connsiteY0" fmla="*/ 0 h 1039261"/>
              <a:gd name="connsiteX1" fmla="*/ 9804902 w 10590965"/>
              <a:gd name="connsiteY1" fmla="*/ 8556 h 1039261"/>
              <a:gd name="connsiteX2" fmla="*/ 10590965 w 10590965"/>
              <a:gd name="connsiteY2" fmla="*/ 1023219 h 1039261"/>
              <a:gd name="connsiteX3" fmla="*/ 17231 w 10590965"/>
              <a:gd name="connsiteY3" fmla="*/ 1039261 h 1039261"/>
              <a:gd name="connsiteX4" fmla="*/ 0 w 10590965"/>
              <a:gd name="connsiteY4" fmla="*/ 0 h 10392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590965" h="1039261">
                <a:moveTo>
                  <a:pt x="0" y="0"/>
                </a:moveTo>
                <a:lnTo>
                  <a:pt x="9804902" y="8556"/>
                </a:lnTo>
                <a:lnTo>
                  <a:pt x="10590965" y="1023219"/>
                </a:lnTo>
                <a:lnTo>
                  <a:pt x="17231" y="1039261"/>
                </a:lnTo>
                <a:cubicBezTo>
                  <a:pt x="15270" y="696227"/>
                  <a:pt x="1961" y="343034"/>
                  <a:pt x="0" y="0"/>
                </a:cubicBezTo>
                <a:close/>
              </a:path>
            </a:pathLst>
          </a:custGeom>
          <a:solidFill>
            <a:srgbClr val="6FC0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539A5BC-98BF-AF79-531E-987CAC662B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1358" y="1404576"/>
            <a:ext cx="11720636" cy="1107440"/>
          </a:xfrm>
        </p:spPr>
        <p:txBody>
          <a:bodyPr anchor="b"/>
          <a:lstStyle>
            <a:lvl1pPr marL="91440">
              <a:defRPr sz="4889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Click to edit divider title style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BC85E638-AA26-FF6B-5C9E-F6D82F10B8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1358" y="2515658"/>
            <a:ext cx="11720636" cy="716187"/>
          </a:xfrm>
          <a:prstGeom prst="rect">
            <a:avLst/>
          </a:prstGeom>
        </p:spPr>
        <p:txBody>
          <a:bodyPr lIns="0" tIns="0" rIns="182880" bIns="0" anchor="t">
            <a:noAutofit/>
          </a:bodyPr>
          <a:lstStyle>
            <a:lvl1pPr marL="406433" marR="0" indent="0" algn="l" defTabSz="9144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>
                <a:solidFill>
                  <a:srgbClr val="595959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E6F18CE-76A8-5A5C-2DF2-D998FFC50FDE}"/>
              </a:ext>
            </a:extLst>
          </p:cNvPr>
          <p:cNvSpPr txBox="1"/>
          <p:nvPr userDrawn="1"/>
        </p:nvSpPr>
        <p:spPr>
          <a:xfrm>
            <a:off x="437453" y="6673805"/>
            <a:ext cx="62308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 dirty="0">
                <a:solidFill>
                  <a:srgbClr val="54596A"/>
                </a:solidFill>
              </a:rPr>
              <a:t>© 2023 </a:t>
            </a:r>
            <a:r>
              <a:rPr lang="en-US" sz="800" dirty="0" err="1">
                <a:solidFill>
                  <a:srgbClr val="54596A"/>
                </a:solidFill>
              </a:rPr>
              <a:t>TPx</a:t>
            </a:r>
            <a:r>
              <a:rPr lang="en-US" sz="800" dirty="0">
                <a:solidFill>
                  <a:srgbClr val="54596A"/>
                </a:solidFill>
              </a:rPr>
              <a:t> Communications. Confidential Information.</a:t>
            </a:r>
          </a:p>
        </p:txBody>
      </p:sp>
    </p:spTree>
    <p:extLst>
      <p:ext uri="{BB962C8B-B14F-4D97-AF65-F5344CB8AC3E}">
        <p14:creationId xmlns:p14="http://schemas.microsoft.com/office/powerpoint/2010/main" val="17487852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ed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8FD940-F42D-CAC3-B067-9E8F149342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B50A1A-59CB-CAED-A52A-23D1E5DE98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2919" y="1179321"/>
            <a:ext cx="11493377" cy="2687124"/>
          </a:xfrm>
          <a:prstGeom prst="rect">
            <a:avLst/>
          </a:prstGeom>
        </p:spPr>
        <p:txBody>
          <a:bodyPr vert="horz" lIns="274320" tIns="274320" rIns="274320" bIns="2743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809178F-84AE-E055-8590-2FB02A0165B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0" y="4487334"/>
            <a:ext cx="12192000" cy="2370667"/>
          </a:xfrm>
          <a:solidFill>
            <a:srgbClr val="007AC3"/>
          </a:solidFill>
        </p:spPr>
        <p:txBody>
          <a:bodyPr tIns="0" bIns="0" anchor="ctr"/>
          <a:lstStyle>
            <a:lvl1pPr marL="12701" indent="0" algn="ctr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1508F881-765D-4D27-2BCB-DD22739D672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0" y="4341820"/>
            <a:ext cx="12192000" cy="291028"/>
          </a:xfrm>
          <a:solidFill>
            <a:srgbClr val="6FC055"/>
          </a:solidFill>
        </p:spPr>
        <p:txBody>
          <a:bodyPr tIns="0" bIns="0" anchor="ctr"/>
          <a:lstStyle>
            <a:lvl1pPr marL="12701" indent="0" algn="ctr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  <a:latin typeface="Oswald" pitchFamily="2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717850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Area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0D6ED2-965F-4DE5-AB26-5C8E722976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7C2887F-627D-9127-D20F-0327E5AFA96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10106" y="1178477"/>
            <a:ext cx="5335693" cy="43515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90BF1DC1-4ABB-3798-EB3C-20188D909F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969579" y="1178477"/>
            <a:ext cx="5335693" cy="43515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293451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Area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9F1E129-918B-4ECF-977F-27CBDC122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91956" y="3963629"/>
            <a:ext cx="5329294" cy="2311663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particular layout works great if you are comparing two things or only have two points to make. Use this as block text or create a bulleted list. 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A82B85D0-F597-4BE4-A325-A6DF6ECB7A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91956" y="3532818"/>
            <a:ext cx="5329294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Title Goes He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E2B40E7-4B77-4068-B43A-91E439D59E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9048" y="3963630"/>
            <a:ext cx="5329294" cy="2311663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particular layout works great if you are comparing two things or only have two points to make. Use this as block text or create a bulleted list. 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A8B860E-FBE4-4DC7-A34E-4B1ED358F1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9048" y="3532818"/>
            <a:ext cx="5329294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554B499-6A0E-983E-4C2D-3A59608FC64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0" y="1107440"/>
            <a:ext cx="12192000" cy="2073732"/>
          </a:xfrm>
          <a:solidFill>
            <a:srgbClr val="007AC3"/>
          </a:solidFill>
        </p:spPr>
        <p:txBody>
          <a:bodyPr tIns="0" bIns="0" anchor="ctr"/>
          <a:lstStyle>
            <a:lvl1pPr marL="12701" indent="0" algn="ctr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  <a:latin typeface="Oswald" pitchFamily="2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CA54D110-CB96-8FA0-B0DF-EA1BF71B2B4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0" y="2894370"/>
            <a:ext cx="12192000" cy="291028"/>
          </a:xfrm>
          <a:solidFill>
            <a:srgbClr val="6FC055"/>
          </a:solidFill>
        </p:spPr>
        <p:txBody>
          <a:bodyPr tIns="0" bIns="0" anchor="ctr"/>
          <a:lstStyle>
            <a:lvl1pPr marL="12701" indent="0" algn="ctr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  <a:latin typeface="Oswald" pitchFamily="2" charset="0"/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88175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2487E151-DB54-E337-F1D2-4373EBFEE1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5368" y="411745"/>
            <a:ext cx="2075676" cy="795676"/>
          </a:xfrm>
          <a:prstGeom prst="rect">
            <a:avLst/>
          </a:prstGeom>
        </p:spPr>
      </p:pic>
      <p:pic>
        <p:nvPicPr>
          <p:cNvPr id="16" name="Picture 15" descr="Icon&#10;&#10;Description automatically generated">
            <a:extLst>
              <a:ext uri="{FF2B5EF4-FFF2-40B4-BE49-F238E27FC236}">
                <a16:creationId xmlns:a16="http://schemas.microsoft.com/office/drawing/2014/main" id="{A4194E23-E1E8-06DC-E76A-FD6A20B220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0038" y="1838794"/>
            <a:ext cx="2075676" cy="795676"/>
          </a:xfrm>
          <a:prstGeom prst="rect">
            <a:avLst/>
          </a:prstGeom>
        </p:spPr>
      </p:pic>
      <p:sp>
        <p:nvSpPr>
          <p:cNvPr id="17" name="Right Triangle 16">
            <a:extLst>
              <a:ext uri="{FF2B5EF4-FFF2-40B4-BE49-F238E27FC236}">
                <a16:creationId xmlns:a16="http://schemas.microsoft.com/office/drawing/2014/main" id="{6294071E-C5CA-FDAC-7D53-4C2C4236C8DD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tTriangle">
            <a:avLst/>
          </a:prstGeom>
          <a:solidFill>
            <a:srgbClr val="007A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8" name="Right Triangle 17">
            <a:extLst>
              <a:ext uri="{FF2B5EF4-FFF2-40B4-BE49-F238E27FC236}">
                <a16:creationId xmlns:a16="http://schemas.microsoft.com/office/drawing/2014/main" id="{8DB7ABFB-9BD2-74E3-89A3-8A2FA3DB66DC}"/>
              </a:ext>
            </a:extLst>
          </p:cNvPr>
          <p:cNvSpPr/>
          <p:nvPr userDrawn="1"/>
        </p:nvSpPr>
        <p:spPr>
          <a:xfrm flipV="1">
            <a:off x="0" y="0"/>
            <a:ext cx="6001047" cy="6858000"/>
          </a:xfrm>
          <a:prstGeom prst="rtTriangle">
            <a:avLst/>
          </a:prstGeom>
          <a:solidFill>
            <a:srgbClr val="007A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9" name="Parallelogram 13">
            <a:extLst>
              <a:ext uri="{FF2B5EF4-FFF2-40B4-BE49-F238E27FC236}">
                <a16:creationId xmlns:a16="http://schemas.microsoft.com/office/drawing/2014/main" id="{AA83A1DE-A177-2229-CF0D-9EAACECE2129}"/>
              </a:ext>
            </a:extLst>
          </p:cNvPr>
          <p:cNvSpPr/>
          <p:nvPr userDrawn="1"/>
        </p:nvSpPr>
        <p:spPr>
          <a:xfrm rot="2075180">
            <a:off x="1644788" y="1575846"/>
            <a:ext cx="2650177" cy="6620191"/>
          </a:xfrm>
          <a:custGeom>
            <a:avLst/>
            <a:gdLst>
              <a:gd name="connsiteX0" fmla="*/ 0 w 5173579"/>
              <a:gd name="connsiteY0" fmla="*/ 9649326 h 9649326"/>
              <a:gd name="connsiteX1" fmla="*/ 1293395 w 5173579"/>
              <a:gd name="connsiteY1" fmla="*/ 0 h 9649326"/>
              <a:gd name="connsiteX2" fmla="*/ 5173579 w 5173579"/>
              <a:gd name="connsiteY2" fmla="*/ 0 h 9649326"/>
              <a:gd name="connsiteX3" fmla="*/ 3880184 w 5173579"/>
              <a:gd name="connsiteY3" fmla="*/ 9649326 h 9649326"/>
              <a:gd name="connsiteX4" fmla="*/ 0 w 5173579"/>
              <a:gd name="connsiteY4" fmla="*/ 9649326 h 9649326"/>
              <a:gd name="connsiteX0" fmla="*/ 0 w 5173579"/>
              <a:gd name="connsiteY0" fmla="*/ 9654120 h 9654120"/>
              <a:gd name="connsiteX1" fmla="*/ 1173174 w 5173579"/>
              <a:gd name="connsiteY1" fmla="*/ 0 h 9654120"/>
              <a:gd name="connsiteX2" fmla="*/ 5173579 w 5173579"/>
              <a:gd name="connsiteY2" fmla="*/ 4794 h 9654120"/>
              <a:gd name="connsiteX3" fmla="*/ 3880184 w 5173579"/>
              <a:gd name="connsiteY3" fmla="*/ 9654120 h 9654120"/>
              <a:gd name="connsiteX4" fmla="*/ 0 w 5173579"/>
              <a:gd name="connsiteY4" fmla="*/ 9654120 h 9654120"/>
              <a:gd name="connsiteX0" fmla="*/ 0 w 5173579"/>
              <a:gd name="connsiteY0" fmla="*/ 9654120 h 9654120"/>
              <a:gd name="connsiteX1" fmla="*/ 1173174 w 5173579"/>
              <a:gd name="connsiteY1" fmla="*/ 0 h 9654120"/>
              <a:gd name="connsiteX2" fmla="*/ 5173579 w 5173579"/>
              <a:gd name="connsiteY2" fmla="*/ 4794 h 9654120"/>
              <a:gd name="connsiteX3" fmla="*/ 4282810 w 5173579"/>
              <a:gd name="connsiteY3" fmla="*/ 6804383 h 9654120"/>
              <a:gd name="connsiteX4" fmla="*/ 0 w 5173579"/>
              <a:gd name="connsiteY4" fmla="*/ 9654120 h 9654120"/>
              <a:gd name="connsiteX0" fmla="*/ 0 w 5173579"/>
              <a:gd name="connsiteY0" fmla="*/ 9654120 h 9654120"/>
              <a:gd name="connsiteX1" fmla="*/ 1173174 w 5173579"/>
              <a:gd name="connsiteY1" fmla="*/ 0 h 9654120"/>
              <a:gd name="connsiteX2" fmla="*/ 5173579 w 5173579"/>
              <a:gd name="connsiteY2" fmla="*/ 4794 h 9654120"/>
              <a:gd name="connsiteX3" fmla="*/ 4241832 w 5173579"/>
              <a:gd name="connsiteY3" fmla="*/ 6744951 h 9654120"/>
              <a:gd name="connsiteX4" fmla="*/ 0 w 5173579"/>
              <a:gd name="connsiteY4" fmla="*/ 9654120 h 9654120"/>
              <a:gd name="connsiteX0" fmla="*/ 0 w 4770319"/>
              <a:gd name="connsiteY0" fmla="*/ 9654120 h 9654120"/>
              <a:gd name="connsiteX1" fmla="*/ 1173174 w 4770319"/>
              <a:gd name="connsiteY1" fmla="*/ 0 h 9654120"/>
              <a:gd name="connsiteX2" fmla="*/ 4770319 w 4770319"/>
              <a:gd name="connsiteY2" fmla="*/ 2387309 h 9654120"/>
              <a:gd name="connsiteX3" fmla="*/ 4241832 w 4770319"/>
              <a:gd name="connsiteY3" fmla="*/ 6744951 h 9654120"/>
              <a:gd name="connsiteX4" fmla="*/ 0 w 4770319"/>
              <a:gd name="connsiteY4" fmla="*/ 9654120 h 9654120"/>
              <a:gd name="connsiteX0" fmla="*/ 0 w 4770319"/>
              <a:gd name="connsiteY0" fmla="*/ 11834458 h 11834458"/>
              <a:gd name="connsiteX1" fmla="*/ 1452778 w 4770319"/>
              <a:gd name="connsiteY1" fmla="*/ 0 h 11834458"/>
              <a:gd name="connsiteX2" fmla="*/ 4770319 w 4770319"/>
              <a:gd name="connsiteY2" fmla="*/ 4567647 h 11834458"/>
              <a:gd name="connsiteX3" fmla="*/ 4241832 w 4770319"/>
              <a:gd name="connsiteY3" fmla="*/ 8925289 h 11834458"/>
              <a:gd name="connsiteX4" fmla="*/ 0 w 4770319"/>
              <a:gd name="connsiteY4" fmla="*/ 11834458 h 11834458"/>
              <a:gd name="connsiteX0" fmla="*/ 0 w 4770319"/>
              <a:gd name="connsiteY0" fmla="*/ 11834458 h 11834458"/>
              <a:gd name="connsiteX1" fmla="*/ 1452778 w 4770319"/>
              <a:gd name="connsiteY1" fmla="*/ 0 h 11834458"/>
              <a:gd name="connsiteX2" fmla="*/ 4770319 w 4770319"/>
              <a:gd name="connsiteY2" fmla="*/ 4567647 h 11834458"/>
              <a:gd name="connsiteX3" fmla="*/ 4234199 w 4770319"/>
              <a:gd name="connsiteY3" fmla="*/ 8914194 h 11834458"/>
              <a:gd name="connsiteX4" fmla="*/ 0 w 4770319"/>
              <a:gd name="connsiteY4" fmla="*/ 11834458 h 11834458"/>
              <a:gd name="connsiteX0" fmla="*/ 0 w 4770319"/>
              <a:gd name="connsiteY0" fmla="*/ 11893133 h 11893133"/>
              <a:gd name="connsiteX1" fmla="*/ 1395908 w 4770319"/>
              <a:gd name="connsiteY1" fmla="*/ 0 h 11893133"/>
              <a:gd name="connsiteX2" fmla="*/ 4770319 w 4770319"/>
              <a:gd name="connsiteY2" fmla="*/ 4626322 h 11893133"/>
              <a:gd name="connsiteX3" fmla="*/ 4234199 w 4770319"/>
              <a:gd name="connsiteY3" fmla="*/ 8972869 h 11893133"/>
              <a:gd name="connsiteX4" fmla="*/ 0 w 4770319"/>
              <a:gd name="connsiteY4" fmla="*/ 11893133 h 11893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70319" h="11893133">
                <a:moveTo>
                  <a:pt x="0" y="11893133"/>
                </a:moveTo>
                <a:lnTo>
                  <a:pt x="1395908" y="0"/>
                </a:lnTo>
                <a:lnTo>
                  <a:pt x="4770319" y="4626322"/>
                </a:lnTo>
                <a:lnTo>
                  <a:pt x="4234199" y="8972869"/>
                </a:lnTo>
                <a:lnTo>
                  <a:pt x="0" y="11893133"/>
                </a:lnTo>
                <a:close/>
              </a:path>
            </a:pathLst>
          </a:custGeom>
          <a:solidFill>
            <a:srgbClr val="3F8D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20" name="Parallelogram 13">
            <a:extLst>
              <a:ext uri="{FF2B5EF4-FFF2-40B4-BE49-F238E27FC236}">
                <a16:creationId xmlns:a16="http://schemas.microsoft.com/office/drawing/2014/main" id="{7430E73B-7E61-9563-00F8-7361AA6E6FEA}"/>
              </a:ext>
            </a:extLst>
          </p:cNvPr>
          <p:cNvSpPr/>
          <p:nvPr userDrawn="1"/>
        </p:nvSpPr>
        <p:spPr>
          <a:xfrm rot="8425880" flipH="1">
            <a:off x="1880626" y="-1526286"/>
            <a:ext cx="2342986" cy="6747415"/>
          </a:xfrm>
          <a:custGeom>
            <a:avLst/>
            <a:gdLst>
              <a:gd name="connsiteX0" fmla="*/ 0 w 5173579"/>
              <a:gd name="connsiteY0" fmla="*/ 9649326 h 9649326"/>
              <a:gd name="connsiteX1" fmla="*/ 1293395 w 5173579"/>
              <a:gd name="connsiteY1" fmla="*/ 0 h 9649326"/>
              <a:gd name="connsiteX2" fmla="*/ 5173579 w 5173579"/>
              <a:gd name="connsiteY2" fmla="*/ 0 h 9649326"/>
              <a:gd name="connsiteX3" fmla="*/ 3880184 w 5173579"/>
              <a:gd name="connsiteY3" fmla="*/ 9649326 h 9649326"/>
              <a:gd name="connsiteX4" fmla="*/ 0 w 5173579"/>
              <a:gd name="connsiteY4" fmla="*/ 9649326 h 9649326"/>
              <a:gd name="connsiteX0" fmla="*/ 0 w 5173579"/>
              <a:gd name="connsiteY0" fmla="*/ 9654120 h 9654120"/>
              <a:gd name="connsiteX1" fmla="*/ 1173174 w 5173579"/>
              <a:gd name="connsiteY1" fmla="*/ 0 h 9654120"/>
              <a:gd name="connsiteX2" fmla="*/ 5173579 w 5173579"/>
              <a:gd name="connsiteY2" fmla="*/ 4794 h 9654120"/>
              <a:gd name="connsiteX3" fmla="*/ 3880184 w 5173579"/>
              <a:gd name="connsiteY3" fmla="*/ 9654120 h 9654120"/>
              <a:gd name="connsiteX4" fmla="*/ 0 w 5173579"/>
              <a:gd name="connsiteY4" fmla="*/ 9654120 h 9654120"/>
              <a:gd name="connsiteX0" fmla="*/ 0 w 5173579"/>
              <a:gd name="connsiteY0" fmla="*/ 9654120 h 9654120"/>
              <a:gd name="connsiteX1" fmla="*/ 1173174 w 5173579"/>
              <a:gd name="connsiteY1" fmla="*/ 0 h 9654120"/>
              <a:gd name="connsiteX2" fmla="*/ 5173579 w 5173579"/>
              <a:gd name="connsiteY2" fmla="*/ 4794 h 9654120"/>
              <a:gd name="connsiteX3" fmla="*/ 4282810 w 5173579"/>
              <a:gd name="connsiteY3" fmla="*/ 6804383 h 9654120"/>
              <a:gd name="connsiteX4" fmla="*/ 0 w 5173579"/>
              <a:gd name="connsiteY4" fmla="*/ 9654120 h 9654120"/>
              <a:gd name="connsiteX0" fmla="*/ 0 w 5173579"/>
              <a:gd name="connsiteY0" fmla="*/ 9654120 h 9654120"/>
              <a:gd name="connsiteX1" fmla="*/ 1173174 w 5173579"/>
              <a:gd name="connsiteY1" fmla="*/ 0 h 9654120"/>
              <a:gd name="connsiteX2" fmla="*/ 5173579 w 5173579"/>
              <a:gd name="connsiteY2" fmla="*/ 4794 h 9654120"/>
              <a:gd name="connsiteX3" fmla="*/ 4241832 w 5173579"/>
              <a:gd name="connsiteY3" fmla="*/ 6744951 h 9654120"/>
              <a:gd name="connsiteX4" fmla="*/ 0 w 5173579"/>
              <a:gd name="connsiteY4" fmla="*/ 9654120 h 9654120"/>
              <a:gd name="connsiteX0" fmla="*/ 0 w 4770319"/>
              <a:gd name="connsiteY0" fmla="*/ 9654120 h 9654120"/>
              <a:gd name="connsiteX1" fmla="*/ 1173174 w 4770319"/>
              <a:gd name="connsiteY1" fmla="*/ 0 h 9654120"/>
              <a:gd name="connsiteX2" fmla="*/ 4770319 w 4770319"/>
              <a:gd name="connsiteY2" fmla="*/ 2387309 h 9654120"/>
              <a:gd name="connsiteX3" fmla="*/ 4241832 w 4770319"/>
              <a:gd name="connsiteY3" fmla="*/ 6744951 h 9654120"/>
              <a:gd name="connsiteX4" fmla="*/ 0 w 4770319"/>
              <a:gd name="connsiteY4" fmla="*/ 9654120 h 9654120"/>
              <a:gd name="connsiteX0" fmla="*/ 0 w 4770319"/>
              <a:gd name="connsiteY0" fmla="*/ 11834458 h 11834458"/>
              <a:gd name="connsiteX1" fmla="*/ 1452778 w 4770319"/>
              <a:gd name="connsiteY1" fmla="*/ 0 h 11834458"/>
              <a:gd name="connsiteX2" fmla="*/ 4770319 w 4770319"/>
              <a:gd name="connsiteY2" fmla="*/ 4567647 h 11834458"/>
              <a:gd name="connsiteX3" fmla="*/ 4241832 w 4770319"/>
              <a:gd name="connsiteY3" fmla="*/ 8925289 h 11834458"/>
              <a:gd name="connsiteX4" fmla="*/ 0 w 4770319"/>
              <a:gd name="connsiteY4" fmla="*/ 11834458 h 11834458"/>
              <a:gd name="connsiteX0" fmla="*/ 0 w 3758701"/>
              <a:gd name="connsiteY0" fmla="*/ 12193226 h 12193226"/>
              <a:gd name="connsiteX1" fmla="*/ 441160 w 3758701"/>
              <a:gd name="connsiteY1" fmla="*/ 0 h 12193226"/>
              <a:gd name="connsiteX2" fmla="*/ 3758701 w 3758701"/>
              <a:gd name="connsiteY2" fmla="*/ 4567647 h 12193226"/>
              <a:gd name="connsiteX3" fmla="*/ 3230214 w 3758701"/>
              <a:gd name="connsiteY3" fmla="*/ 8925289 h 12193226"/>
              <a:gd name="connsiteX4" fmla="*/ 0 w 3758701"/>
              <a:gd name="connsiteY4" fmla="*/ 12193226 h 12193226"/>
              <a:gd name="connsiteX0" fmla="*/ 0 w 3758701"/>
              <a:gd name="connsiteY0" fmla="*/ 12193226 h 12193226"/>
              <a:gd name="connsiteX1" fmla="*/ 441160 w 3758701"/>
              <a:gd name="connsiteY1" fmla="*/ 0 h 12193226"/>
              <a:gd name="connsiteX2" fmla="*/ 3758701 w 3758701"/>
              <a:gd name="connsiteY2" fmla="*/ 4567647 h 12193226"/>
              <a:gd name="connsiteX3" fmla="*/ 3382557 w 3758701"/>
              <a:gd name="connsiteY3" fmla="*/ 9197087 h 12193226"/>
              <a:gd name="connsiteX4" fmla="*/ 0 w 3758701"/>
              <a:gd name="connsiteY4" fmla="*/ 12193226 h 12193226"/>
              <a:gd name="connsiteX0" fmla="*/ 0 w 3758701"/>
              <a:gd name="connsiteY0" fmla="*/ 11937534 h 11937534"/>
              <a:gd name="connsiteX1" fmla="*/ 434410 w 3758701"/>
              <a:gd name="connsiteY1" fmla="*/ 0 h 11937534"/>
              <a:gd name="connsiteX2" fmla="*/ 3758701 w 3758701"/>
              <a:gd name="connsiteY2" fmla="*/ 4311955 h 11937534"/>
              <a:gd name="connsiteX3" fmla="*/ 3382557 w 3758701"/>
              <a:gd name="connsiteY3" fmla="*/ 8941395 h 11937534"/>
              <a:gd name="connsiteX4" fmla="*/ 0 w 3758701"/>
              <a:gd name="connsiteY4" fmla="*/ 11937534 h 11937534"/>
              <a:gd name="connsiteX0" fmla="*/ 0 w 3758701"/>
              <a:gd name="connsiteY0" fmla="*/ 12147583 h 12147583"/>
              <a:gd name="connsiteX1" fmla="*/ 435222 w 3758701"/>
              <a:gd name="connsiteY1" fmla="*/ 0 h 12147583"/>
              <a:gd name="connsiteX2" fmla="*/ 3758701 w 3758701"/>
              <a:gd name="connsiteY2" fmla="*/ 4522004 h 12147583"/>
              <a:gd name="connsiteX3" fmla="*/ 3382557 w 3758701"/>
              <a:gd name="connsiteY3" fmla="*/ 9151444 h 12147583"/>
              <a:gd name="connsiteX4" fmla="*/ 0 w 3758701"/>
              <a:gd name="connsiteY4" fmla="*/ 12147583 h 12147583"/>
              <a:gd name="connsiteX0" fmla="*/ 0 w 3718247"/>
              <a:gd name="connsiteY0" fmla="*/ 12094610 h 12094610"/>
              <a:gd name="connsiteX1" fmla="*/ 394768 w 3718247"/>
              <a:gd name="connsiteY1" fmla="*/ 0 h 12094610"/>
              <a:gd name="connsiteX2" fmla="*/ 3718247 w 3718247"/>
              <a:gd name="connsiteY2" fmla="*/ 4522004 h 12094610"/>
              <a:gd name="connsiteX3" fmla="*/ 3342103 w 3718247"/>
              <a:gd name="connsiteY3" fmla="*/ 9151444 h 12094610"/>
              <a:gd name="connsiteX4" fmla="*/ 0 w 3718247"/>
              <a:gd name="connsiteY4" fmla="*/ 12094610 h 12094610"/>
              <a:gd name="connsiteX0" fmla="*/ 0 w 3734266"/>
              <a:gd name="connsiteY0" fmla="*/ 12094610 h 12094610"/>
              <a:gd name="connsiteX1" fmla="*/ 394768 w 3734266"/>
              <a:gd name="connsiteY1" fmla="*/ 0 h 12094610"/>
              <a:gd name="connsiteX2" fmla="*/ 3734266 w 3734266"/>
              <a:gd name="connsiteY2" fmla="*/ 4542648 h 12094610"/>
              <a:gd name="connsiteX3" fmla="*/ 3342103 w 3734266"/>
              <a:gd name="connsiteY3" fmla="*/ 9151444 h 12094610"/>
              <a:gd name="connsiteX4" fmla="*/ 0 w 3734266"/>
              <a:gd name="connsiteY4" fmla="*/ 12094610 h 12094610"/>
              <a:gd name="connsiteX0" fmla="*/ 0 w 3756611"/>
              <a:gd name="connsiteY0" fmla="*/ 12094610 h 12094610"/>
              <a:gd name="connsiteX1" fmla="*/ 394768 w 3756611"/>
              <a:gd name="connsiteY1" fmla="*/ 0 h 12094610"/>
              <a:gd name="connsiteX2" fmla="*/ 3756611 w 3756611"/>
              <a:gd name="connsiteY2" fmla="*/ 4592468 h 12094610"/>
              <a:gd name="connsiteX3" fmla="*/ 3342103 w 3756611"/>
              <a:gd name="connsiteY3" fmla="*/ 9151444 h 12094610"/>
              <a:gd name="connsiteX4" fmla="*/ 0 w 3756611"/>
              <a:gd name="connsiteY4" fmla="*/ 12094610 h 12094610"/>
              <a:gd name="connsiteX0" fmla="*/ 0 w 3764149"/>
              <a:gd name="connsiteY0" fmla="*/ 12094610 h 12094610"/>
              <a:gd name="connsiteX1" fmla="*/ 394768 w 3764149"/>
              <a:gd name="connsiteY1" fmla="*/ 0 h 12094610"/>
              <a:gd name="connsiteX2" fmla="*/ 3764149 w 3764149"/>
              <a:gd name="connsiteY2" fmla="*/ 4559190 h 12094610"/>
              <a:gd name="connsiteX3" fmla="*/ 3342103 w 3764149"/>
              <a:gd name="connsiteY3" fmla="*/ 9151444 h 12094610"/>
              <a:gd name="connsiteX4" fmla="*/ 0 w 3764149"/>
              <a:gd name="connsiteY4" fmla="*/ 12094610 h 12094610"/>
              <a:gd name="connsiteX0" fmla="*/ 0 w 3769966"/>
              <a:gd name="connsiteY0" fmla="*/ 12094610 h 12094610"/>
              <a:gd name="connsiteX1" fmla="*/ 394768 w 3769966"/>
              <a:gd name="connsiteY1" fmla="*/ 0 h 12094610"/>
              <a:gd name="connsiteX2" fmla="*/ 3769966 w 3769966"/>
              <a:gd name="connsiteY2" fmla="*/ 4545190 h 12094610"/>
              <a:gd name="connsiteX3" fmla="*/ 3342103 w 3769966"/>
              <a:gd name="connsiteY3" fmla="*/ 9151444 h 12094610"/>
              <a:gd name="connsiteX4" fmla="*/ 0 w 3769966"/>
              <a:gd name="connsiteY4" fmla="*/ 12094610 h 12094610"/>
              <a:gd name="connsiteX0" fmla="*/ 0 w 3824271"/>
              <a:gd name="connsiteY0" fmla="*/ 12094610 h 12094610"/>
              <a:gd name="connsiteX1" fmla="*/ 394768 w 3824271"/>
              <a:gd name="connsiteY1" fmla="*/ 0 h 12094610"/>
              <a:gd name="connsiteX2" fmla="*/ 3824271 w 3824271"/>
              <a:gd name="connsiteY2" fmla="*/ 4550687 h 12094610"/>
              <a:gd name="connsiteX3" fmla="*/ 3342103 w 3824271"/>
              <a:gd name="connsiteY3" fmla="*/ 9151444 h 12094610"/>
              <a:gd name="connsiteX4" fmla="*/ 0 w 3824271"/>
              <a:gd name="connsiteY4" fmla="*/ 12094610 h 12094610"/>
              <a:gd name="connsiteX0" fmla="*/ 0 w 3926781"/>
              <a:gd name="connsiteY0" fmla="*/ 12094610 h 12094610"/>
              <a:gd name="connsiteX1" fmla="*/ 394768 w 3926781"/>
              <a:gd name="connsiteY1" fmla="*/ 0 h 12094610"/>
              <a:gd name="connsiteX2" fmla="*/ 3926781 w 3926781"/>
              <a:gd name="connsiteY2" fmla="*/ 4566893 h 12094610"/>
              <a:gd name="connsiteX3" fmla="*/ 3342103 w 3926781"/>
              <a:gd name="connsiteY3" fmla="*/ 9151444 h 12094610"/>
              <a:gd name="connsiteX4" fmla="*/ 0 w 3926781"/>
              <a:gd name="connsiteY4" fmla="*/ 12094610 h 12094610"/>
              <a:gd name="connsiteX0" fmla="*/ 0 w 3952346"/>
              <a:gd name="connsiteY0" fmla="*/ 12094610 h 12094610"/>
              <a:gd name="connsiteX1" fmla="*/ 394768 w 3952346"/>
              <a:gd name="connsiteY1" fmla="*/ 0 h 12094610"/>
              <a:gd name="connsiteX2" fmla="*/ 3952346 w 3952346"/>
              <a:gd name="connsiteY2" fmla="*/ 4586962 h 12094610"/>
              <a:gd name="connsiteX3" fmla="*/ 3342103 w 3952346"/>
              <a:gd name="connsiteY3" fmla="*/ 9151444 h 12094610"/>
              <a:gd name="connsiteX4" fmla="*/ 0 w 3952346"/>
              <a:gd name="connsiteY4" fmla="*/ 12094610 h 12094610"/>
              <a:gd name="connsiteX0" fmla="*/ 0 w 3943563"/>
              <a:gd name="connsiteY0" fmla="*/ 12094610 h 12094610"/>
              <a:gd name="connsiteX1" fmla="*/ 394768 w 3943563"/>
              <a:gd name="connsiteY1" fmla="*/ 0 h 12094610"/>
              <a:gd name="connsiteX2" fmla="*/ 3943563 w 3943563"/>
              <a:gd name="connsiteY2" fmla="*/ 4562765 h 12094610"/>
              <a:gd name="connsiteX3" fmla="*/ 3342103 w 3943563"/>
              <a:gd name="connsiteY3" fmla="*/ 9151444 h 12094610"/>
              <a:gd name="connsiteX4" fmla="*/ 0 w 3943563"/>
              <a:gd name="connsiteY4" fmla="*/ 12094610 h 12094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43563" h="12094610">
                <a:moveTo>
                  <a:pt x="0" y="12094610"/>
                </a:moveTo>
                <a:lnTo>
                  <a:pt x="394768" y="0"/>
                </a:lnTo>
                <a:lnTo>
                  <a:pt x="3943563" y="4562765"/>
                </a:lnTo>
                <a:lnTo>
                  <a:pt x="3342103" y="9151444"/>
                </a:lnTo>
                <a:lnTo>
                  <a:pt x="0" y="12094610"/>
                </a:lnTo>
                <a:close/>
              </a:path>
            </a:pathLst>
          </a:custGeom>
          <a:solidFill>
            <a:srgbClr val="6FC0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F609907-463B-85C2-4B58-6F291C2466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1449" y="2640652"/>
            <a:ext cx="7590551" cy="1107440"/>
          </a:xfrm>
        </p:spPr>
        <p:txBody>
          <a:bodyPr anchor="b"/>
          <a:lstStyle>
            <a:lvl1pPr marL="91440">
              <a:defRPr sz="4889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E7A7985B-0BC8-42D9-7D8F-1B6803B564C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01449" y="3769448"/>
            <a:ext cx="7590550" cy="716187"/>
          </a:xfrm>
          <a:prstGeom prst="rect">
            <a:avLst/>
          </a:prstGeom>
        </p:spPr>
        <p:txBody>
          <a:bodyPr lIns="0" tIns="0" rIns="182880" bIns="0" anchor="t">
            <a:noAutofit/>
          </a:bodyPr>
          <a:lstStyle>
            <a:lvl1pPr marL="406433" marR="0" indent="0" algn="l" defTabSz="9144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>
                <a:solidFill>
                  <a:srgbClr val="595959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502EAB-171A-2C0A-9AF3-4562F2BBD795}"/>
              </a:ext>
            </a:extLst>
          </p:cNvPr>
          <p:cNvSpPr txBox="1"/>
          <p:nvPr userDrawn="1"/>
        </p:nvSpPr>
        <p:spPr>
          <a:xfrm>
            <a:off x="5779477" y="6645648"/>
            <a:ext cx="62308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" dirty="0">
                <a:solidFill>
                  <a:srgbClr val="54596A"/>
                </a:solidFill>
              </a:rPr>
              <a:t>© 2023 </a:t>
            </a:r>
            <a:r>
              <a:rPr lang="en-US" sz="800" dirty="0" err="1">
                <a:solidFill>
                  <a:srgbClr val="54596A"/>
                </a:solidFill>
              </a:rPr>
              <a:t>TPx</a:t>
            </a:r>
            <a:r>
              <a:rPr lang="en-US" sz="800" dirty="0">
                <a:solidFill>
                  <a:srgbClr val="54596A"/>
                </a:solidFill>
              </a:rPr>
              <a:t> Communications. Confidential Information.</a:t>
            </a:r>
          </a:p>
        </p:txBody>
      </p:sp>
    </p:spTree>
    <p:extLst>
      <p:ext uri="{BB962C8B-B14F-4D97-AF65-F5344CB8AC3E}">
        <p14:creationId xmlns:p14="http://schemas.microsoft.com/office/powerpoint/2010/main" val="39274998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all Out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9F1E129-918B-4ECF-977F-27CBDC122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2577" y="1726473"/>
            <a:ext cx="3429000" cy="4451088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e three column layout is not only a visually pleasing layout, it’s also super flexible. You can vary the type of content in each column.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A82B85D0-F597-4BE4-A325-A6DF6ECB7A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8364" y="1295662"/>
            <a:ext cx="3429000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29F74D1-3DF0-46BA-99D9-840D25A68B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17988" y="1726472"/>
            <a:ext cx="3429000" cy="4451088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e beauty of using the three column layout is that it helps the brain quickly organize the information on the slide. 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211B096-207D-49B2-8820-9A96C2D5195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23776" y="1295662"/>
            <a:ext cx="3429000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E2B40E7-4B77-4068-B43A-91E439D59E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53400" y="1721112"/>
            <a:ext cx="3429000" cy="4451088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But don’t limit yourself to this particular look.  Each column could consist of a simple combination of image and text or several stacked images. 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A8B860E-FBE4-4DC7-A34E-4B1ED358F1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53400" y="1290302"/>
            <a:ext cx="3429000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Title Goes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96635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215537874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all Out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1B3347C-B66F-AAFF-1922-A64CF9AA21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4777067"/>
            <a:ext cx="3721165" cy="799471"/>
          </a:xfrm>
        </p:spPr>
        <p:txBody>
          <a:bodyPr tIns="18288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24BA0C12-D4ED-79F5-43C7-E67D7D44F7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4346257"/>
            <a:ext cx="3721165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 algn="ctr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93CA6BD6-ECF4-B8F3-C28F-E706FB44AA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35418" y="4777068"/>
            <a:ext cx="3721165" cy="799471"/>
          </a:xfrm>
        </p:spPr>
        <p:txBody>
          <a:bodyPr tIns="18288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D82A8A34-85A6-BED8-E048-37343D0EF66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5418" y="4346257"/>
            <a:ext cx="3721165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 algn="ctr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1A4EF822-F5C2-6916-B483-4ED95A0E0F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46953" y="4777068"/>
            <a:ext cx="3721165" cy="799471"/>
          </a:xfrm>
        </p:spPr>
        <p:txBody>
          <a:bodyPr tIns="18288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B4765C8C-5656-6EFA-DB52-2BC304FAB8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46953" y="4346257"/>
            <a:ext cx="3721165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 algn="ctr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Title Goes Here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65A10CE6-5DDB-E2D7-0AF8-5F5BC8748DB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4800" y="1368636"/>
            <a:ext cx="11569700" cy="1138543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call out text. This is a great location to provide an overview or an introduction to the topic of the slide. The bulleted sections that follow are grouped for quick identification.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58471F3E-1C7E-CB26-ABC2-793872AB6B44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04800" y="2518824"/>
            <a:ext cx="3721165" cy="1827434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E75A07D7-8199-C0BB-E17B-E9AFF90F9592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235418" y="2518824"/>
            <a:ext cx="3721165" cy="1827434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6CD58101-9110-7C20-2118-CC9848409B5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8146952" y="2511743"/>
            <a:ext cx="3721165" cy="1827434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2560786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 Out Slide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00A32643-EEB1-2D89-5738-EEDD915526F4}"/>
              </a:ext>
            </a:extLst>
          </p:cNvPr>
          <p:cNvSpPr/>
          <p:nvPr userDrawn="1"/>
        </p:nvSpPr>
        <p:spPr>
          <a:xfrm>
            <a:off x="0" y="5310909"/>
            <a:ext cx="4371879" cy="715818"/>
          </a:xfrm>
          <a:prstGeom prst="rect">
            <a:avLst/>
          </a:prstGeom>
          <a:solidFill>
            <a:srgbClr val="6FC0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Aft>
                <a:spcPts val="333"/>
              </a:spcAft>
            </a:pPr>
            <a:endParaRPr lang="en-US" sz="611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6B6A3FC0-6ABF-487E-A6E5-4DC73548299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4938" y="1671091"/>
            <a:ext cx="5997425" cy="4002831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D1AA3747-5135-D390-B435-3D2EFABF6A9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21538" y="2199509"/>
            <a:ext cx="4925524" cy="1107440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e great thing about this layout is it provides visual interest. Use this copy block for a short callout or small bulleted list. 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24AD70E9-645B-3A59-4708-36841218C48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21539" y="1671091"/>
            <a:ext cx="4925524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 algn="l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8341014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 Out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AB23DE9B-2D67-7D19-89D5-847CF4F5CBED}"/>
              </a:ext>
            </a:extLst>
          </p:cNvPr>
          <p:cNvSpPr/>
          <p:nvPr userDrawn="1"/>
        </p:nvSpPr>
        <p:spPr>
          <a:xfrm>
            <a:off x="7286118" y="0"/>
            <a:ext cx="833919" cy="6859152"/>
          </a:xfrm>
          <a:prstGeom prst="rect">
            <a:avLst/>
          </a:prstGeom>
          <a:solidFill>
            <a:srgbClr val="6FC0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Aft>
                <a:spcPts val="333"/>
              </a:spcAft>
            </a:pPr>
            <a:endParaRPr lang="en-US" sz="611" dirty="0"/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58F682FE-8342-4568-BD7E-8A298D03A4E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93145" y="1698979"/>
            <a:ext cx="7826892" cy="4863394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7278420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897E657B-345E-4E88-A4F1-07A178DDBB5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530598" y="2085703"/>
            <a:ext cx="3556000" cy="1107440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e great thing about this layout is it provides visual interest. Use this copy block for a short callout or small bulleted list. 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D56ADCE7-C5EC-4C71-AAA5-49530750D3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30598" y="1596572"/>
            <a:ext cx="3556000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7552600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 Out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73D6BF24-A924-3AF3-7DC3-FA9264A1C39D}"/>
              </a:ext>
            </a:extLst>
          </p:cNvPr>
          <p:cNvSpPr/>
          <p:nvPr userDrawn="1"/>
        </p:nvSpPr>
        <p:spPr>
          <a:xfrm>
            <a:off x="10639778" y="0"/>
            <a:ext cx="1552222" cy="1378123"/>
          </a:xfrm>
          <a:prstGeom prst="rect">
            <a:avLst/>
          </a:prstGeom>
          <a:solidFill>
            <a:srgbClr val="6FC0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Aft>
                <a:spcPts val="333"/>
              </a:spcAft>
            </a:pPr>
            <a:endParaRPr lang="en-US" sz="611" dirty="0"/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58F682FE-8342-4568-BD7E-8A298D03A4E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5999" y="229810"/>
            <a:ext cx="5854096" cy="277119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0"/>
            <a:ext cx="5277479" cy="110744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tit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897E657B-345E-4E88-A4F1-07A178DDBB5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51955" y="1893559"/>
            <a:ext cx="4925524" cy="1107440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e great thing about this layout is it provides visual interest. Use this copy block for a short callout or small bulleted list. 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BB5EDC4-6C7F-B762-2D8B-4DF53C969B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1956" y="1365141"/>
            <a:ext cx="4925524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 algn="l">
              <a:buFont typeface="+mj-lt"/>
              <a:buNone/>
              <a:defRPr lang="en-US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8B431F94-3507-A44C-F51A-0DD9120432C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950857" y="4086861"/>
            <a:ext cx="2854477" cy="1107440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e great thing about this layout is it provides visual interest. Use this copy block for a short callout. 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1F3EC7EF-E3B5-6C0B-5F06-01553A19AE5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950858" y="3558442"/>
            <a:ext cx="2854477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 algn="l">
              <a:buFont typeface="+mj-lt"/>
              <a:buNone/>
              <a:defRPr lang="en-US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52E4DE5-1B22-566B-942D-6BDABF92B6C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89465" y="4086861"/>
            <a:ext cx="2854477" cy="1107440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e great thing about this layout is it provides visual interest. Use this copy block for a short callout. 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93BDD8D-5811-1A55-C57A-0D56BD3022E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89465" y="3558442"/>
            <a:ext cx="2854477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 algn="l">
              <a:buFont typeface="+mj-lt"/>
              <a:buNone/>
              <a:defRPr lang="en-US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6D4B4AD-22C5-E8E9-AD53-7CCC73A8D82E}"/>
              </a:ext>
            </a:extLst>
          </p:cNvPr>
          <p:cNvSpPr/>
          <p:nvPr userDrawn="1"/>
        </p:nvSpPr>
        <p:spPr>
          <a:xfrm>
            <a:off x="6096000" y="3248405"/>
            <a:ext cx="1717524" cy="95931"/>
          </a:xfrm>
          <a:prstGeom prst="rect">
            <a:avLst/>
          </a:prstGeom>
          <a:solidFill>
            <a:srgbClr val="6FC055"/>
          </a:solidFill>
          <a:ln>
            <a:solidFill>
              <a:srgbClr val="6FC05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Aft>
                <a:spcPts val="333"/>
              </a:spcAft>
            </a:pPr>
            <a:endParaRPr lang="en-US" sz="61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2116971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Slide Right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E5AB0757-CB63-E991-5511-DEB39AC9925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1999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l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F83F7D21-E9FA-7AD6-0056-3166BF0F375E}"/>
              </a:ext>
            </a:extLst>
          </p:cNvPr>
          <p:cNvSpPr txBox="1">
            <a:spLocks/>
          </p:cNvSpPr>
          <p:nvPr userDrawn="1"/>
        </p:nvSpPr>
        <p:spPr>
          <a:xfrm>
            <a:off x="7011939" y="213652"/>
            <a:ext cx="4956848" cy="730700"/>
          </a:xfrm>
          <a:prstGeom prst="rect">
            <a:avLst/>
          </a:prstGeom>
          <a:solidFill>
            <a:srgbClr val="017AC3">
              <a:alpha val="80000"/>
            </a:srgbClr>
          </a:solidFill>
        </p:spPr>
        <p:txBody>
          <a:bodyPr vert="horz" lIns="101600" tIns="0" rIns="101600" bIns="0" rtlCol="0" anchor="ctr" anchorCtr="0">
            <a:noAutofit/>
          </a:bodyPr>
          <a:lstStyle>
            <a:lvl1pPr marL="0" algn="l" defTabSz="164592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960" b="0" i="0" kern="1200" cap="none" baseline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 sz="2200" b="0" i="0" dirty="0">
                <a:latin typeface="Roboto" panose="02000000000000000000" pitchFamily="2" charset="0"/>
                <a:ea typeface="Roboto" panose="02000000000000000000" pitchFamily="2" charset="0"/>
              </a:rPr>
              <a:t>Click to edit Master title style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A1D95D3A-3F6C-A3D8-E383-296C072A59B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11940" y="945959"/>
            <a:ext cx="4956848" cy="5698389"/>
          </a:xfrm>
          <a:prstGeom prst="rect">
            <a:avLst/>
          </a:prstGeom>
          <a:solidFill>
            <a:srgbClr val="017AC3">
              <a:alpha val="80000"/>
            </a:srgbClr>
          </a:solidFill>
        </p:spPr>
        <p:txBody>
          <a:bodyPr vert="horz" lIns="182880" tIns="182880" rIns="182880" bIns="182880" rtlCol="0" anchor="t">
            <a:normAutofit/>
          </a:bodyPr>
          <a:lstStyle>
            <a:lvl1pPr marL="0" indent="0">
              <a:lnSpc>
                <a:spcPct val="150000"/>
              </a:lnSpc>
              <a:spcBef>
                <a:spcPts val="600"/>
              </a:spcBef>
              <a:buNone/>
              <a:defRPr lang="en-US" sz="1800" dirty="0">
                <a:solidFill>
                  <a:schemeClr val="bg1"/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You can quickly change out the images in this template by deleting an image and then clicking on the image placeholder icon to browse your machine for a replacement imag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7779193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Slide Left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icture Placeholder 2">
            <a:extLst>
              <a:ext uri="{FF2B5EF4-FFF2-40B4-BE49-F238E27FC236}">
                <a16:creationId xmlns:a16="http://schemas.microsoft.com/office/drawing/2014/main" id="{D5506261-B7BD-E16A-CFDA-3724382C734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1999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4183C213-3596-26B1-4B1B-370A4C810803}"/>
              </a:ext>
            </a:extLst>
          </p:cNvPr>
          <p:cNvSpPr txBox="1">
            <a:spLocks/>
          </p:cNvSpPr>
          <p:nvPr userDrawn="1"/>
        </p:nvSpPr>
        <p:spPr>
          <a:xfrm>
            <a:off x="223212" y="236743"/>
            <a:ext cx="4956848" cy="730700"/>
          </a:xfrm>
          <a:prstGeom prst="rect">
            <a:avLst/>
          </a:prstGeom>
          <a:solidFill>
            <a:srgbClr val="007AC3">
              <a:alpha val="80000"/>
            </a:srgbClr>
          </a:solidFill>
        </p:spPr>
        <p:txBody>
          <a:bodyPr vert="horz" lIns="101600" tIns="0" rIns="101600" bIns="0" rtlCol="0" anchor="ctr" anchorCtr="0">
            <a:noAutofit/>
          </a:bodyPr>
          <a:lstStyle>
            <a:lvl1pPr marL="0" algn="l" defTabSz="164592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960" b="0" i="0" kern="1200" cap="none" baseline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 sz="2200" b="0" i="0" dirty="0">
                <a:latin typeface="Roboto" panose="02000000000000000000" pitchFamily="2" charset="0"/>
                <a:ea typeface="Roboto" panose="02000000000000000000" pitchFamily="2" charset="0"/>
              </a:rPr>
              <a:t>Click to edit Master title style</a:t>
            </a:r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09792919-B486-0EFB-BE16-FF0234CB9B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3213" y="969051"/>
            <a:ext cx="4956848" cy="5698389"/>
          </a:xfrm>
          <a:prstGeom prst="rect">
            <a:avLst/>
          </a:prstGeom>
          <a:solidFill>
            <a:srgbClr val="007AC3">
              <a:alpha val="80000"/>
            </a:srgbClr>
          </a:solidFill>
        </p:spPr>
        <p:txBody>
          <a:bodyPr vert="horz" lIns="182880" tIns="182880" rIns="182880" bIns="182880" rtlCol="0" anchor="t">
            <a:normAutofit/>
          </a:bodyPr>
          <a:lstStyle>
            <a:lvl1pPr marL="0" indent="0">
              <a:lnSpc>
                <a:spcPct val="150000"/>
              </a:lnSpc>
              <a:spcBef>
                <a:spcPts val="600"/>
              </a:spcBef>
              <a:buNone/>
              <a:defRPr lang="en-US" sz="1800" dirty="0">
                <a:solidFill>
                  <a:schemeClr val="bg1"/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You can quickly change out the images in this template by deleting an image and then clicking on the image placeholder icon to browse your machine for a replacement imag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679115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ECEA4B-7294-465E-9AD5-3A631CA5D4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709573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58D9E0D2-526C-4B5F-A1EF-B11DD1800A4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6024" y="1146951"/>
            <a:ext cx="7527176" cy="5191760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en-US" dirty="0"/>
              <a:t>This is a great location if you have longer form content. 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E36AF541-6691-0F2A-3AD0-BAF0CF57B3E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136293" y="5839"/>
            <a:ext cx="2055707" cy="6858000"/>
          </a:xfrm>
          <a:solidFill>
            <a:srgbClr val="007AC3"/>
          </a:solidFill>
        </p:spPr>
        <p:txBody>
          <a:bodyPr tIns="0" bIns="0" anchor="ctr"/>
          <a:lstStyle>
            <a:lvl1pPr algn="ctr">
              <a:spcBef>
                <a:spcPts val="0"/>
              </a:spcBef>
              <a:spcAft>
                <a:spcPts val="0"/>
              </a:spcAft>
              <a:defRPr>
                <a:solidFill>
                  <a:schemeClr val="bg1"/>
                </a:solidFill>
                <a:latin typeface="Oswald" pitchFamily="2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4F7FF068-7F0D-0FC5-1C3B-8121D84B2D5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49920" y="1529086"/>
            <a:ext cx="3765973" cy="3726827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 marL="12701" indent="0" algn="ctr">
              <a:buNone/>
              <a:defRPr sz="889"/>
            </a:lvl1pPr>
          </a:lstStyle>
          <a:p>
            <a:r>
              <a:rPr lang="en-US" dirty="0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850178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ECEA4B-7294-465E-9AD5-3A631CA5D4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58D9E0D2-526C-4B5F-A1EF-B11DD1800A4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8027" y="1149338"/>
            <a:ext cx="11501120" cy="1138543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2000"/>
            </a:lvl1pPr>
          </a:lstStyle>
          <a:p>
            <a:pPr lvl="0"/>
            <a:r>
              <a:rPr lang="en-US" dirty="0"/>
              <a:t>This layout is great if you have a short amount of copy to cover but want to include visual interest.  </a:t>
            </a: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7F357B00-F353-89E3-CAD0-1B1290AF282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3542453"/>
            <a:ext cx="12192000" cy="3315547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543932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E9E3BC-84C4-453A-BFBE-C44B096313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1449" y="2640652"/>
            <a:ext cx="7590551" cy="1107440"/>
          </a:xfrm>
        </p:spPr>
        <p:txBody>
          <a:bodyPr anchor="b"/>
          <a:lstStyle>
            <a:lvl1pPr marL="91440">
              <a:defRPr sz="4889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2487E151-DB54-E337-F1D2-4373EBFEE1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0038" y="1838794"/>
            <a:ext cx="2075676" cy="795676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A286A1C8-E01B-D593-3A9D-1507714E9E9F}"/>
              </a:ext>
            </a:extLst>
          </p:cNvPr>
          <p:cNvGrpSpPr/>
          <p:nvPr userDrawn="1"/>
        </p:nvGrpSpPr>
        <p:grpSpPr>
          <a:xfrm>
            <a:off x="-2421431" y="-1526286"/>
            <a:ext cx="8517431" cy="9722323"/>
            <a:chOff x="-4358576" y="-2747315"/>
            <a:chExt cx="15331376" cy="17500182"/>
          </a:xfrm>
        </p:grpSpPr>
        <p:sp>
          <p:nvSpPr>
            <p:cNvPr id="12" name="Right Triangle 11">
              <a:extLst>
                <a:ext uri="{FF2B5EF4-FFF2-40B4-BE49-F238E27FC236}">
                  <a16:creationId xmlns:a16="http://schemas.microsoft.com/office/drawing/2014/main" id="{5B859243-D91C-C69C-7C59-96B7AF36802D}"/>
                </a:ext>
              </a:extLst>
            </p:cNvPr>
            <p:cNvSpPr/>
            <p:nvPr userDrawn="1"/>
          </p:nvSpPr>
          <p:spPr>
            <a:xfrm>
              <a:off x="0" y="0"/>
              <a:ext cx="10972800" cy="12344400"/>
            </a:xfrm>
            <a:prstGeom prst="rtTriangle">
              <a:avLst/>
            </a:prstGeom>
            <a:solidFill>
              <a:srgbClr val="007A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  <p:sp>
          <p:nvSpPr>
            <p:cNvPr id="13" name="Right Triangle 12">
              <a:extLst>
                <a:ext uri="{FF2B5EF4-FFF2-40B4-BE49-F238E27FC236}">
                  <a16:creationId xmlns:a16="http://schemas.microsoft.com/office/drawing/2014/main" id="{61819916-F4F5-413C-1547-88C0581C5550}"/>
                </a:ext>
              </a:extLst>
            </p:cNvPr>
            <p:cNvSpPr/>
            <p:nvPr userDrawn="1"/>
          </p:nvSpPr>
          <p:spPr>
            <a:xfrm flipV="1">
              <a:off x="0" y="0"/>
              <a:ext cx="10801884" cy="12344400"/>
            </a:xfrm>
            <a:prstGeom prst="rtTriangle">
              <a:avLst/>
            </a:prstGeom>
            <a:solidFill>
              <a:srgbClr val="007A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  <p:sp>
          <p:nvSpPr>
            <p:cNvPr id="4" name="Right Triangle 3">
              <a:extLst>
                <a:ext uri="{FF2B5EF4-FFF2-40B4-BE49-F238E27FC236}">
                  <a16:creationId xmlns:a16="http://schemas.microsoft.com/office/drawing/2014/main" id="{1C9F753C-1C13-2C5B-652F-8AC756B49A53}"/>
                </a:ext>
              </a:extLst>
            </p:cNvPr>
            <p:cNvSpPr/>
            <p:nvPr userDrawn="1"/>
          </p:nvSpPr>
          <p:spPr>
            <a:xfrm rot="13487843">
              <a:off x="-4358576" y="1794390"/>
              <a:ext cx="8703081" cy="8755621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  <p:sp>
          <p:nvSpPr>
            <p:cNvPr id="14" name="Parallelogram 13">
              <a:extLst>
                <a:ext uri="{FF2B5EF4-FFF2-40B4-BE49-F238E27FC236}">
                  <a16:creationId xmlns:a16="http://schemas.microsoft.com/office/drawing/2014/main" id="{71BF2B95-4D31-7B32-6A93-0373476AE4F0}"/>
                </a:ext>
              </a:extLst>
            </p:cNvPr>
            <p:cNvSpPr/>
            <p:nvPr userDrawn="1"/>
          </p:nvSpPr>
          <p:spPr>
            <a:xfrm rot="2075180">
              <a:off x="2960618" y="2836523"/>
              <a:ext cx="4770319" cy="11916344"/>
            </a:xfrm>
            <a:custGeom>
              <a:avLst/>
              <a:gdLst>
                <a:gd name="connsiteX0" fmla="*/ 0 w 5173579"/>
                <a:gd name="connsiteY0" fmla="*/ 9649326 h 9649326"/>
                <a:gd name="connsiteX1" fmla="*/ 1293395 w 5173579"/>
                <a:gd name="connsiteY1" fmla="*/ 0 h 9649326"/>
                <a:gd name="connsiteX2" fmla="*/ 5173579 w 5173579"/>
                <a:gd name="connsiteY2" fmla="*/ 0 h 9649326"/>
                <a:gd name="connsiteX3" fmla="*/ 3880184 w 5173579"/>
                <a:gd name="connsiteY3" fmla="*/ 9649326 h 9649326"/>
                <a:gd name="connsiteX4" fmla="*/ 0 w 5173579"/>
                <a:gd name="connsiteY4" fmla="*/ 9649326 h 9649326"/>
                <a:gd name="connsiteX0" fmla="*/ 0 w 5173579"/>
                <a:gd name="connsiteY0" fmla="*/ 9654120 h 9654120"/>
                <a:gd name="connsiteX1" fmla="*/ 1173174 w 5173579"/>
                <a:gd name="connsiteY1" fmla="*/ 0 h 9654120"/>
                <a:gd name="connsiteX2" fmla="*/ 5173579 w 5173579"/>
                <a:gd name="connsiteY2" fmla="*/ 4794 h 9654120"/>
                <a:gd name="connsiteX3" fmla="*/ 3880184 w 5173579"/>
                <a:gd name="connsiteY3" fmla="*/ 9654120 h 9654120"/>
                <a:gd name="connsiteX4" fmla="*/ 0 w 5173579"/>
                <a:gd name="connsiteY4" fmla="*/ 9654120 h 9654120"/>
                <a:gd name="connsiteX0" fmla="*/ 0 w 5173579"/>
                <a:gd name="connsiteY0" fmla="*/ 9654120 h 9654120"/>
                <a:gd name="connsiteX1" fmla="*/ 1173174 w 5173579"/>
                <a:gd name="connsiteY1" fmla="*/ 0 h 9654120"/>
                <a:gd name="connsiteX2" fmla="*/ 5173579 w 5173579"/>
                <a:gd name="connsiteY2" fmla="*/ 4794 h 9654120"/>
                <a:gd name="connsiteX3" fmla="*/ 4282810 w 5173579"/>
                <a:gd name="connsiteY3" fmla="*/ 6804383 h 9654120"/>
                <a:gd name="connsiteX4" fmla="*/ 0 w 5173579"/>
                <a:gd name="connsiteY4" fmla="*/ 9654120 h 9654120"/>
                <a:gd name="connsiteX0" fmla="*/ 0 w 5173579"/>
                <a:gd name="connsiteY0" fmla="*/ 9654120 h 9654120"/>
                <a:gd name="connsiteX1" fmla="*/ 1173174 w 5173579"/>
                <a:gd name="connsiteY1" fmla="*/ 0 h 9654120"/>
                <a:gd name="connsiteX2" fmla="*/ 5173579 w 5173579"/>
                <a:gd name="connsiteY2" fmla="*/ 4794 h 9654120"/>
                <a:gd name="connsiteX3" fmla="*/ 4241832 w 5173579"/>
                <a:gd name="connsiteY3" fmla="*/ 6744951 h 9654120"/>
                <a:gd name="connsiteX4" fmla="*/ 0 w 5173579"/>
                <a:gd name="connsiteY4" fmla="*/ 9654120 h 9654120"/>
                <a:gd name="connsiteX0" fmla="*/ 0 w 4770319"/>
                <a:gd name="connsiteY0" fmla="*/ 9654120 h 9654120"/>
                <a:gd name="connsiteX1" fmla="*/ 1173174 w 4770319"/>
                <a:gd name="connsiteY1" fmla="*/ 0 h 9654120"/>
                <a:gd name="connsiteX2" fmla="*/ 4770319 w 4770319"/>
                <a:gd name="connsiteY2" fmla="*/ 2387309 h 9654120"/>
                <a:gd name="connsiteX3" fmla="*/ 4241832 w 4770319"/>
                <a:gd name="connsiteY3" fmla="*/ 6744951 h 9654120"/>
                <a:gd name="connsiteX4" fmla="*/ 0 w 4770319"/>
                <a:gd name="connsiteY4" fmla="*/ 9654120 h 9654120"/>
                <a:gd name="connsiteX0" fmla="*/ 0 w 4770319"/>
                <a:gd name="connsiteY0" fmla="*/ 11834458 h 11834458"/>
                <a:gd name="connsiteX1" fmla="*/ 1452778 w 4770319"/>
                <a:gd name="connsiteY1" fmla="*/ 0 h 11834458"/>
                <a:gd name="connsiteX2" fmla="*/ 4770319 w 4770319"/>
                <a:gd name="connsiteY2" fmla="*/ 4567647 h 11834458"/>
                <a:gd name="connsiteX3" fmla="*/ 4241832 w 4770319"/>
                <a:gd name="connsiteY3" fmla="*/ 8925289 h 11834458"/>
                <a:gd name="connsiteX4" fmla="*/ 0 w 4770319"/>
                <a:gd name="connsiteY4" fmla="*/ 11834458 h 11834458"/>
                <a:gd name="connsiteX0" fmla="*/ 0 w 4770319"/>
                <a:gd name="connsiteY0" fmla="*/ 11834458 h 11834458"/>
                <a:gd name="connsiteX1" fmla="*/ 1452778 w 4770319"/>
                <a:gd name="connsiteY1" fmla="*/ 0 h 11834458"/>
                <a:gd name="connsiteX2" fmla="*/ 4770319 w 4770319"/>
                <a:gd name="connsiteY2" fmla="*/ 4567647 h 11834458"/>
                <a:gd name="connsiteX3" fmla="*/ 4234199 w 4770319"/>
                <a:gd name="connsiteY3" fmla="*/ 8914194 h 11834458"/>
                <a:gd name="connsiteX4" fmla="*/ 0 w 4770319"/>
                <a:gd name="connsiteY4" fmla="*/ 11834458 h 11834458"/>
                <a:gd name="connsiteX0" fmla="*/ 0 w 4770319"/>
                <a:gd name="connsiteY0" fmla="*/ 11893133 h 11893133"/>
                <a:gd name="connsiteX1" fmla="*/ 1395908 w 4770319"/>
                <a:gd name="connsiteY1" fmla="*/ 0 h 11893133"/>
                <a:gd name="connsiteX2" fmla="*/ 4770319 w 4770319"/>
                <a:gd name="connsiteY2" fmla="*/ 4626322 h 11893133"/>
                <a:gd name="connsiteX3" fmla="*/ 4234199 w 4770319"/>
                <a:gd name="connsiteY3" fmla="*/ 8972869 h 11893133"/>
                <a:gd name="connsiteX4" fmla="*/ 0 w 4770319"/>
                <a:gd name="connsiteY4" fmla="*/ 11893133 h 11893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70319" h="11893133">
                  <a:moveTo>
                    <a:pt x="0" y="11893133"/>
                  </a:moveTo>
                  <a:lnTo>
                    <a:pt x="1395908" y="0"/>
                  </a:lnTo>
                  <a:lnTo>
                    <a:pt x="4770319" y="4626322"/>
                  </a:lnTo>
                  <a:lnTo>
                    <a:pt x="4234199" y="8972869"/>
                  </a:lnTo>
                  <a:lnTo>
                    <a:pt x="0" y="11893133"/>
                  </a:lnTo>
                  <a:close/>
                </a:path>
              </a:pathLst>
            </a:custGeom>
            <a:solidFill>
              <a:srgbClr val="3F8D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  <p:sp>
          <p:nvSpPr>
            <p:cNvPr id="15" name="Parallelogram 13">
              <a:extLst>
                <a:ext uri="{FF2B5EF4-FFF2-40B4-BE49-F238E27FC236}">
                  <a16:creationId xmlns:a16="http://schemas.microsoft.com/office/drawing/2014/main" id="{F95D21D0-C1F7-8B2E-A198-138266299AE2}"/>
                </a:ext>
              </a:extLst>
            </p:cNvPr>
            <p:cNvSpPr/>
            <p:nvPr userDrawn="1"/>
          </p:nvSpPr>
          <p:spPr>
            <a:xfrm rot="8425880" flipH="1">
              <a:off x="3385128" y="-2747315"/>
              <a:ext cx="4217374" cy="12145347"/>
            </a:xfrm>
            <a:custGeom>
              <a:avLst/>
              <a:gdLst>
                <a:gd name="connsiteX0" fmla="*/ 0 w 5173579"/>
                <a:gd name="connsiteY0" fmla="*/ 9649326 h 9649326"/>
                <a:gd name="connsiteX1" fmla="*/ 1293395 w 5173579"/>
                <a:gd name="connsiteY1" fmla="*/ 0 h 9649326"/>
                <a:gd name="connsiteX2" fmla="*/ 5173579 w 5173579"/>
                <a:gd name="connsiteY2" fmla="*/ 0 h 9649326"/>
                <a:gd name="connsiteX3" fmla="*/ 3880184 w 5173579"/>
                <a:gd name="connsiteY3" fmla="*/ 9649326 h 9649326"/>
                <a:gd name="connsiteX4" fmla="*/ 0 w 5173579"/>
                <a:gd name="connsiteY4" fmla="*/ 9649326 h 9649326"/>
                <a:gd name="connsiteX0" fmla="*/ 0 w 5173579"/>
                <a:gd name="connsiteY0" fmla="*/ 9654120 h 9654120"/>
                <a:gd name="connsiteX1" fmla="*/ 1173174 w 5173579"/>
                <a:gd name="connsiteY1" fmla="*/ 0 h 9654120"/>
                <a:gd name="connsiteX2" fmla="*/ 5173579 w 5173579"/>
                <a:gd name="connsiteY2" fmla="*/ 4794 h 9654120"/>
                <a:gd name="connsiteX3" fmla="*/ 3880184 w 5173579"/>
                <a:gd name="connsiteY3" fmla="*/ 9654120 h 9654120"/>
                <a:gd name="connsiteX4" fmla="*/ 0 w 5173579"/>
                <a:gd name="connsiteY4" fmla="*/ 9654120 h 9654120"/>
                <a:gd name="connsiteX0" fmla="*/ 0 w 5173579"/>
                <a:gd name="connsiteY0" fmla="*/ 9654120 h 9654120"/>
                <a:gd name="connsiteX1" fmla="*/ 1173174 w 5173579"/>
                <a:gd name="connsiteY1" fmla="*/ 0 h 9654120"/>
                <a:gd name="connsiteX2" fmla="*/ 5173579 w 5173579"/>
                <a:gd name="connsiteY2" fmla="*/ 4794 h 9654120"/>
                <a:gd name="connsiteX3" fmla="*/ 4282810 w 5173579"/>
                <a:gd name="connsiteY3" fmla="*/ 6804383 h 9654120"/>
                <a:gd name="connsiteX4" fmla="*/ 0 w 5173579"/>
                <a:gd name="connsiteY4" fmla="*/ 9654120 h 9654120"/>
                <a:gd name="connsiteX0" fmla="*/ 0 w 5173579"/>
                <a:gd name="connsiteY0" fmla="*/ 9654120 h 9654120"/>
                <a:gd name="connsiteX1" fmla="*/ 1173174 w 5173579"/>
                <a:gd name="connsiteY1" fmla="*/ 0 h 9654120"/>
                <a:gd name="connsiteX2" fmla="*/ 5173579 w 5173579"/>
                <a:gd name="connsiteY2" fmla="*/ 4794 h 9654120"/>
                <a:gd name="connsiteX3" fmla="*/ 4241832 w 5173579"/>
                <a:gd name="connsiteY3" fmla="*/ 6744951 h 9654120"/>
                <a:gd name="connsiteX4" fmla="*/ 0 w 5173579"/>
                <a:gd name="connsiteY4" fmla="*/ 9654120 h 9654120"/>
                <a:gd name="connsiteX0" fmla="*/ 0 w 4770319"/>
                <a:gd name="connsiteY0" fmla="*/ 9654120 h 9654120"/>
                <a:gd name="connsiteX1" fmla="*/ 1173174 w 4770319"/>
                <a:gd name="connsiteY1" fmla="*/ 0 h 9654120"/>
                <a:gd name="connsiteX2" fmla="*/ 4770319 w 4770319"/>
                <a:gd name="connsiteY2" fmla="*/ 2387309 h 9654120"/>
                <a:gd name="connsiteX3" fmla="*/ 4241832 w 4770319"/>
                <a:gd name="connsiteY3" fmla="*/ 6744951 h 9654120"/>
                <a:gd name="connsiteX4" fmla="*/ 0 w 4770319"/>
                <a:gd name="connsiteY4" fmla="*/ 9654120 h 9654120"/>
                <a:gd name="connsiteX0" fmla="*/ 0 w 4770319"/>
                <a:gd name="connsiteY0" fmla="*/ 11834458 h 11834458"/>
                <a:gd name="connsiteX1" fmla="*/ 1452778 w 4770319"/>
                <a:gd name="connsiteY1" fmla="*/ 0 h 11834458"/>
                <a:gd name="connsiteX2" fmla="*/ 4770319 w 4770319"/>
                <a:gd name="connsiteY2" fmla="*/ 4567647 h 11834458"/>
                <a:gd name="connsiteX3" fmla="*/ 4241832 w 4770319"/>
                <a:gd name="connsiteY3" fmla="*/ 8925289 h 11834458"/>
                <a:gd name="connsiteX4" fmla="*/ 0 w 4770319"/>
                <a:gd name="connsiteY4" fmla="*/ 11834458 h 11834458"/>
                <a:gd name="connsiteX0" fmla="*/ 0 w 3758701"/>
                <a:gd name="connsiteY0" fmla="*/ 12193226 h 12193226"/>
                <a:gd name="connsiteX1" fmla="*/ 441160 w 3758701"/>
                <a:gd name="connsiteY1" fmla="*/ 0 h 12193226"/>
                <a:gd name="connsiteX2" fmla="*/ 3758701 w 3758701"/>
                <a:gd name="connsiteY2" fmla="*/ 4567647 h 12193226"/>
                <a:gd name="connsiteX3" fmla="*/ 3230214 w 3758701"/>
                <a:gd name="connsiteY3" fmla="*/ 8925289 h 12193226"/>
                <a:gd name="connsiteX4" fmla="*/ 0 w 3758701"/>
                <a:gd name="connsiteY4" fmla="*/ 12193226 h 12193226"/>
                <a:gd name="connsiteX0" fmla="*/ 0 w 3758701"/>
                <a:gd name="connsiteY0" fmla="*/ 12193226 h 12193226"/>
                <a:gd name="connsiteX1" fmla="*/ 441160 w 3758701"/>
                <a:gd name="connsiteY1" fmla="*/ 0 h 12193226"/>
                <a:gd name="connsiteX2" fmla="*/ 3758701 w 3758701"/>
                <a:gd name="connsiteY2" fmla="*/ 4567647 h 12193226"/>
                <a:gd name="connsiteX3" fmla="*/ 3382557 w 3758701"/>
                <a:gd name="connsiteY3" fmla="*/ 9197087 h 12193226"/>
                <a:gd name="connsiteX4" fmla="*/ 0 w 3758701"/>
                <a:gd name="connsiteY4" fmla="*/ 12193226 h 12193226"/>
                <a:gd name="connsiteX0" fmla="*/ 0 w 3758701"/>
                <a:gd name="connsiteY0" fmla="*/ 11937534 h 11937534"/>
                <a:gd name="connsiteX1" fmla="*/ 434410 w 3758701"/>
                <a:gd name="connsiteY1" fmla="*/ 0 h 11937534"/>
                <a:gd name="connsiteX2" fmla="*/ 3758701 w 3758701"/>
                <a:gd name="connsiteY2" fmla="*/ 4311955 h 11937534"/>
                <a:gd name="connsiteX3" fmla="*/ 3382557 w 3758701"/>
                <a:gd name="connsiteY3" fmla="*/ 8941395 h 11937534"/>
                <a:gd name="connsiteX4" fmla="*/ 0 w 3758701"/>
                <a:gd name="connsiteY4" fmla="*/ 11937534 h 11937534"/>
                <a:gd name="connsiteX0" fmla="*/ 0 w 3758701"/>
                <a:gd name="connsiteY0" fmla="*/ 12147583 h 12147583"/>
                <a:gd name="connsiteX1" fmla="*/ 435222 w 3758701"/>
                <a:gd name="connsiteY1" fmla="*/ 0 h 12147583"/>
                <a:gd name="connsiteX2" fmla="*/ 3758701 w 3758701"/>
                <a:gd name="connsiteY2" fmla="*/ 4522004 h 12147583"/>
                <a:gd name="connsiteX3" fmla="*/ 3382557 w 3758701"/>
                <a:gd name="connsiteY3" fmla="*/ 9151444 h 12147583"/>
                <a:gd name="connsiteX4" fmla="*/ 0 w 3758701"/>
                <a:gd name="connsiteY4" fmla="*/ 12147583 h 12147583"/>
                <a:gd name="connsiteX0" fmla="*/ 0 w 3718247"/>
                <a:gd name="connsiteY0" fmla="*/ 12094610 h 12094610"/>
                <a:gd name="connsiteX1" fmla="*/ 394768 w 3718247"/>
                <a:gd name="connsiteY1" fmla="*/ 0 h 12094610"/>
                <a:gd name="connsiteX2" fmla="*/ 3718247 w 3718247"/>
                <a:gd name="connsiteY2" fmla="*/ 4522004 h 12094610"/>
                <a:gd name="connsiteX3" fmla="*/ 3342103 w 3718247"/>
                <a:gd name="connsiteY3" fmla="*/ 9151444 h 12094610"/>
                <a:gd name="connsiteX4" fmla="*/ 0 w 3718247"/>
                <a:gd name="connsiteY4" fmla="*/ 12094610 h 12094610"/>
                <a:gd name="connsiteX0" fmla="*/ 0 w 3734266"/>
                <a:gd name="connsiteY0" fmla="*/ 12094610 h 12094610"/>
                <a:gd name="connsiteX1" fmla="*/ 394768 w 3734266"/>
                <a:gd name="connsiteY1" fmla="*/ 0 h 12094610"/>
                <a:gd name="connsiteX2" fmla="*/ 3734266 w 3734266"/>
                <a:gd name="connsiteY2" fmla="*/ 4542648 h 12094610"/>
                <a:gd name="connsiteX3" fmla="*/ 3342103 w 3734266"/>
                <a:gd name="connsiteY3" fmla="*/ 9151444 h 12094610"/>
                <a:gd name="connsiteX4" fmla="*/ 0 w 3734266"/>
                <a:gd name="connsiteY4" fmla="*/ 12094610 h 12094610"/>
                <a:gd name="connsiteX0" fmla="*/ 0 w 3756611"/>
                <a:gd name="connsiteY0" fmla="*/ 12094610 h 12094610"/>
                <a:gd name="connsiteX1" fmla="*/ 394768 w 3756611"/>
                <a:gd name="connsiteY1" fmla="*/ 0 h 12094610"/>
                <a:gd name="connsiteX2" fmla="*/ 3756611 w 3756611"/>
                <a:gd name="connsiteY2" fmla="*/ 4592468 h 12094610"/>
                <a:gd name="connsiteX3" fmla="*/ 3342103 w 3756611"/>
                <a:gd name="connsiteY3" fmla="*/ 9151444 h 12094610"/>
                <a:gd name="connsiteX4" fmla="*/ 0 w 3756611"/>
                <a:gd name="connsiteY4" fmla="*/ 12094610 h 12094610"/>
                <a:gd name="connsiteX0" fmla="*/ 0 w 3764149"/>
                <a:gd name="connsiteY0" fmla="*/ 12094610 h 12094610"/>
                <a:gd name="connsiteX1" fmla="*/ 394768 w 3764149"/>
                <a:gd name="connsiteY1" fmla="*/ 0 h 12094610"/>
                <a:gd name="connsiteX2" fmla="*/ 3764149 w 3764149"/>
                <a:gd name="connsiteY2" fmla="*/ 4559190 h 12094610"/>
                <a:gd name="connsiteX3" fmla="*/ 3342103 w 3764149"/>
                <a:gd name="connsiteY3" fmla="*/ 9151444 h 12094610"/>
                <a:gd name="connsiteX4" fmla="*/ 0 w 3764149"/>
                <a:gd name="connsiteY4" fmla="*/ 12094610 h 12094610"/>
                <a:gd name="connsiteX0" fmla="*/ 0 w 3769966"/>
                <a:gd name="connsiteY0" fmla="*/ 12094610 h 12094610"/>
                <a:gd name="connsiteX1" fmla="*/ 394768 w 3769966"/>
                <a:gd name="connsiteY1" fmla="*/ 0 h 12094610"/>
                <a:gd name="connsiteX2" fmla="*/ 3769966 w 3769966"/>
                <a:gd name="connsiteY2" fmla="*/ 4545190 h 12094610"/>
                <a:gd name="connsiteX3" fmla="*/ 3342103 w 3769966"/>
                <a:gd name="connsiteY3" fmla="*/ 9151444 h 12094610"/>
                <a:gd name="connsiteX4" fmla="*/ 0 w 3769966"/>
                <a:gd name="connsiteY4" fmla="*/ 12094610 h 12094610"/>
                <a:gd name="connsiteX0" fmla="*/ 0 w 3824271"/>
                <a:gd name="connsiteY0" fmla="*/ 12094610 h 12094610"/>
                <a:gd name="connsiteX1" fmla="*/ 394768 w 3824271"/>
                <a:gd name="connsiteY1" fmla="*/ 0 h 12094610"/>
                <a:gd name="connsiteX2" fmla="*/ 3824271 w 3824271"/>
                <a:gd name="connsiteY2" fmla="*/ 4550687 h 12094610"/>
                <a:gd name="connsiteX3" fmla="*/ 3342103 w 3824271"/>
                <a:gd name="connsiteY3" fmla="*/ 9151444 h 12094610"/>
                <a:gd name="connsiteX4" fmla="*/ 0 w 3824271"/>
                <a:gd name="connsiteY4" fmla="*/ 12094610 h 12094610"/>
                <a:gd name="connsiteX0" fmla="*/ 0 w 3926781"/>
                <a:gd name="connsiteY0" fmla="*/ 12094610 h 12094610"/>
                <a:gd name="connsiteX1" fmla="*/ 394768 w 3926781"/>
                <a:gd name="connsiteY1" fmla="*/ 0 h 12094610"/>
                <a:gd name="connsiteX2" fmla="*/ 3926781 w 3926781"/>
                <a:gd name="connsiteY2" fmla="*/ 4566893 h 12094610"/>
                <a:gd name="connsiteX3" fmla="*/ 3342103 w 3926781"/>
                <a:gd name="connsiteY3" fmla="*/ 9151444 h 12094610"/>
                <a:gd name="connsiteX4" fmla="*/ 0 w 3926781"/>
                <a:gd name="connsiteY4" fmla="*/ 12094610 h 12094610"/>
                <a:gd name="connsiteX0" fmla="*/ 0 w 3952346"/>
                <a:gd name="connsiteY0" fmla="*/ 12094610 h 12094610"/>
                <a:gd name="connsiteX1" fmla="*/ 394768 w 3952346"/>
                <a:gd name="connsiteY1" fmla="*/ 0 h 12094610"/>
                <a:gd name="connsiteX2" fmla="*/ 3952346 w 3952346"/>
                <a:gd name="connsiteY2" fmla="*/ 4586962 h 12094610"/>
                <a:gd name="connsiteX3" fmla="*/ 3342103 w 3952346"/>
                <a:gd name="connsiteY3" fmla="*/ 9151444 h 12094610"/>
                <a:gd name="connsiteX4" fmla="*/ 0 w 3952346"/>
                <a:gd name="connsiteY4" fmla="*/ 12094610 h 12094610"/>
                <a:gd name="connsiteX0" fmla="*/ 0 w 3943563"/>
                <a:gd name="connsiteY0" fmla="*/ 12094610 h 12094610"/>
                <a:gd name="connsiteX1" fmla="*/ 394768 w 3943563"/>
                <a:gd name="connsiteY1" fmla="*/ 0 h 12094610"/>
                <a:gd name="connsiteX2" fmla="*/ 3943563 w 3943563"/>
                <a:gd name="connsiteY2" fmla="*/ 4562765 h 12094610"/>
                <a:gd name="connsiteX3" fmla="*/ 3342103 w 3943563"/>
                <a:gd name="connsiteY3" fmla="*/ 9151444 h 12094610"/>
                <a:gd name="connsiteX4" fmla="*/ 0 w 3943563"/>
                <a:gd name="connsiteY4" fmla="*/ 12094610 h 12094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43563" h="12094610">
                  <a:moveTo>
                    <a:pt x="0" y="12094610"/>
                  </a:moveTo>
                  <a:lnTo>
                    <a:pt x="394768" y="0"/>
                  </a:lnTo>
                  <a:lnTo>
                    <a:pt x="3943563" y="4562765"/>
                  </a:lnTo>
                  <a:lnTo>
                    <a:pt x="3342103" y="9151444"/>
                  </a:lnTo>
                  <a:lnTo>
                    <a:pt x="0" y="12094610"/>
                  </a:lnTo>
                  <a:close/>
                </a:path>
              </a:pathLst>
            </a:custGeom>
            <a:solidFill>
              <a:srgbClr val="6FC0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</p:grp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89D7E75C-7FF4-B5DB-908B-43099D5D03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01449" y="3769448"/>
            <a:ext cx="7590550" cy="716187"/>
          </a:xfrm>
          <a:prstGeom prst="rect">
            <a:avLst/>
          </a:prstGeom>
        </p:spPr>
        <p:txBody>
          <a:bodyPr lIns="0" tIns="0" rIns="182880" bIns="0" anchor="t">
            <a:noAutofit/>
          </a:bodyPr>
          <a:lstStyle>
            <a:lvl1pPr marL="406433" marR="0" indent="0" algn="l" defTabSz="9144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>
                <a:solidFill>
                  <a:srgbClr val="595959"/>
                </a:solidFill>
                <a:effectLst/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87D1959B-7790-6734-ADF0-649D7C94C40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543" y="-5872"/>
            <a:ext cx="3066041" cy="6858000"/>
          </a:xfrm>
          <a:custGeom>
            <a:avLst/>
            <a:gdLst>
              <a:gd name="connsiteX0" fmla="*/ 0 w 5477256"/>
              <a:gd name="connsiteY0" fmla="*/ 0 h 12636923"/>
              <a:gd name="connsiteX1" fmla="*/ 5477256 w 5477256"/>
              <a:gd name="connsiteY1" fmla="*/ 0 h 12636923"/>
              <a:gd name="connsiteX2" fmla="*/ 5477256 w 5477256"/>
              <a:gd name="connsiteY2" fmla="*/ 12636923 h 12636923"/>
              <a:gd name="connsiteX3" fmla="*/ 0 w 5477256"/>
              <a:gd name="connsiteY3" fmla="*/ 12636923 h 12636923"/>
              <a:gd name="connsiteX4" fmla="*/ 0 w 5477256"/>
              <a:gd name="connsiteY4" fmla="*/ 0 h 12636923"/>
              <a:gd name="connsiteX0" fmla="*/ 0 w 5507736"/>
              <a:gd name="connsiteY0" fmla="*/ 0 h 12636923"/>
              <a:gd name="connsiteX1" fmla="*/ 5507736 w 5507736"/>
              <a:gd name="connsiteY1" fmla="*/ 6207760 h 12636923"/>
              <a:gd name="connsiteX2" fmla="*/ 5477256 w 5507736"/>
              <a:gd name="connsiteY2" fmla="*/ 12636923 h 12636923"/>
              <a:gd name="connsiteX3" fmla="*/ 0 w 5507736"/>
              <a:gd name="connsiteY3" fmla="*/ 12636923 h 12636923"/>
              <a:gd name="connsiteX4" fmla="*/ 0 w 5507736"/>
              <a:gd name="connsiteY4" fmla="*/ 0 h 12636923"/>
              <a:gd name="connsiteX0" fmla="*/ 0 w 5517896"/>
              <a:gd name="connsiteY0" fmla="*/ 0 h 12636923"/>
              <a:gd name="connsiteX1" fmla="*/ 5507736 w 5517896"/>
              <a:gd name="connsiteY1" fmla="*/ 6207760 h 12636923"/>
              <a:gd name="connsiteX2" fmla="*/ 5517896 w 5517896"/>
              <a:gd name="connsiteY2" fmla="*/ 6236123 h 12636923"/>
              <a:gd name="connsiteX3" fmla="*/ 0 w 5517896"/>
              <a:gd name="connsiteY3" fmla="*/ 12636923 h 12636923"/>
              <a:gd name="connsiteX4" fmla="*/ 0 w 5517896"/>
              <a:gd name="connsiteY4" fmla="*/ 0 h 12636923"/>
              <a:gd name="connsiteX0" fmla="*/ 0 w 5517896"/>
              <a:gd name="connsiteY0" fmla="*/ 0 h 12403243"/>
              <a:gd name="connsiteX1" fmla="*/ 5507736 w 5517896"/>
              <a:gd name="connsiteY1" fmla="*/ 6207760 h 12403243"/>
              <a:gd name="connsiteX2" fmla="*/ 5517896 w 5517896"/>
              <a:gd name="connsiteY2" fmla="*/ 6236123 h 12403243"/>
              <a:gd name="connsiteX3" fmla="*/ 0 w 5517896"/>
              <a:gd name="connsiteY3" fmla="*/ 12403243 h 12403243"/>
              <a:gd name="connsiteX4" fmla="*/ 0 w 5517896"/>
              <a:gd name="connsiteY4" fmla="*/ 0 h 12403243"/>
              <a:gd name="connsiteX0" fmla="*/ 0 w 5517896"/>
              <a:gd name="connsiteY0" fmla="*/ 0 h 12362603"/>
              <a:gd name="connsiteX1" fmla="*/ 5507736 w 5517896"/>
              <a:gd name="connsiteY1" fmla="*/ 6207760 h 12362603"/>
              <a:gd name="connsiteX2" fmla="*/ 5517896 w 5517896"/>
              <a:gd name="connsiteY2" fmla="*/ 6236123 h 12362603"/>
              <a:gd name="connsiteX3" fmla="*/ 0 w 5517896"/>
              <a:gd name="connsiteY3" fmla="*/ 12362603 h 12362603"/>
              <a:gd name="connsiteX4" fmla="*/ 0 w 5517896"/>
              <a:gd name="connsiteY4" fmla="*/ 0 h 12362603"/>
              <a:gd name="connsiteX0" fmla="*/ 10160 w 5528056"/>
              <a:gd name="connsiteY0" fmla="*/ 0 h 12342283"/>
              <a:gd name="connsiteX1" fmla="*/ 5517896 w 5528056"/>
              <a:gd name="connsiteY1" fmla="*/ 6207760 h 12342283"/>
              <a:gd name="connsiteX2" fmla="*/ 5528056 w 5528056"/>
              <a:gd name="connsiteY2" fmla="*/ 6236123 h 12342283"/>
              <a:gd name="connsiteX3" fmla="*/ 0 w 5528056"/>
              <a:gd name="connsiteY3" fmla="*/ 12342283 h 12342283"/>
              <a:gd name="connsiteX4" fmla="*/ 10160 w 5528056"/>
              <a:gd name="connsiteY4" fmla="*/ 0 h 12342283"/>
              <a:gd name="connsiteX0" fmla="*/ 978 w 5518874"/>
              <a:gd name="connsiteY0" fmla="*/ 0 h 12362603"/>
              <a:gd name="connsiteX1" fmla="*/ 5508714 w 5518874"/>
              <a:gd name="connsiteY1" fmla="*/ 6207760 h 12362603"/>
              <a:gd name="connsiteX2" fmla="*/ 5518874 w 5518874"/>
              <a:gd name="connsiteY2" fmla="*/ 6236123 h 12362603"/>
              <a:gd name="connsiteX3" fmla="*/ 978 w 5518874"/>
              <a:gd name="connsiteY3" fmla="*/ 12362603 h 12362603"/>
              <a:gd name="connsiteX4" fmla="*/ 978 w 5518874"/>
              <a:gd name="connsiteY4" fmla="*/ 0 h 123626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18874" h="12362603">
                <a:moveTo>
                  <a:pt x="978" y="0"/>
                </a:moveTo>
                <a:lnTo>
                  <a:pt x="5508714" y="6207760"/>
                </a:lnTo>
                <a:lnTo>
                  <a:pt x="5518874" y="6236123"/>
                </a:lnTo>
                <a:lnTo>
                  <a:pt x="978" y="12362603"/>
                </a:lnTo>
                <a:cubicBezTo>
                  <a:pt x="4365" y="8248509"/>
                  <a:pt x="-2409" y="4114094"/>
                  <a:pt x="978" y="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algn="ctr">
              <a:defRPr sz="1778"/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icon to add pictur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59EBD2F-C4ED-2050-C3B9-F943D78D9FE5}"/>
              </a:ext>
            </a:extLst>
          </p:cNvPr>
          <p:cNvSpPr txBox="1"/>
          <p:nvPr userDrawn="1"/>
        </p:nvSpPr>
        <p:spPr>
          <a:xfrm>
            <a:off x="5779477" y="6645648"/>
            <a:ext cx="62308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" dirty="0">
                <a:solidFill>
                  <a:srgbClr val="54596A"/>
                </a:solidFill>
              </a:rPr>
              <a:t>© 2023 </a:t>
            </a:r>
            <a:r>
              <a:rPr lang="en-US" sz="800" dirty="0" err="1">
                <a:solidFill>
                  <a:srgbClr val="54596A"/>
                </a:solidFill>
              </a:rPr>
              <a:t>TPx</a:t>
            </a:r>
            <a:r>
              <a:rPr lang="en-US" sz="800" dirty="0">
                <a:solidFill>
                  <a:srgbClr val="54596A"/>
                </a:solidFill>
              </a:rPr>
              <a:t> Communications. Confidential Information.</a:t>
            </a:r>
          </a:p>
        </p:txBody>
      </p:sp>
    </p:spTree>
    <p:extLst>
      <p:ext uri="{BB962C8B-B14F-4D97-AF65-F5344CB8AC3E}">
        <p14:creationId xmlns:p14="http://schemas.microsoft.com/office/powerpoint/2010/main" val="322056158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 - Content R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ED86EAC-13FF-45DC-AEEC-3935BC64775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98120" y="182880"/>
            <a:ext cx="11795760" cy="649224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l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DD8FA0-DE88-4994-B585-DBD5057F88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48599" y="1634598"/>
            <a:ext cx="4343400" cy="730700"/>
          </a:xfrm>
          <a:prstGeom prst="rect">
            <a:avLst/>
          </a:prstGeom>
          <a:solidFill>
            <a:srgbClr val="007AC3"/>
          </a:solidFill>
        </p:spPr>
        <p:txBody>
          <a:bodyPr lIns="182880" rIns="182880"/>
          <a:lstStyle>
            <a:lvl1pPr marL="0">
              <a:defRPr sz="2200" b="0" i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B632D70-FA9B-43F9-B923-4D706DCB1F2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48600" y="2362202"/>
            <a:ext cx="4343400" cy="3001493"/>
          </a:xfrm>
          <a:prstGeom prst="rect">
            <a:avLst/>
          </a:prstGeom>
          <a:solidFill>
            <a:srgbClr val="007AC3"/>
          </a:solidFill>
        </p:spPr>
        <p:txBody>
          <a:bodyPr vert="horz" lIns="182880" tIns="182880" rIns="182880" bIns="182880" rtlCol="0" anchor="t">
            <a:normAutofit/>
          </a:bodyPr>
          <a:lstStyle>
            <a:lvl1pPr marL="0" indent="0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None/>
              <a:defRPr lang="en-US" sz="1800" dirty="0">
                <a:solidFill>
                  <a:schemeClr val="bg1"/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You can quickly change out the images in this template by deleting an image and then clicking on the image placeholder icon to browse your machine for a replacement imag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9685688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Slide - Content Righ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ED86EAC-13FF-45DC-AEEC-3935BC64775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98120" y="182880"/>
            <a:ext cx="11795760" cy="649224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l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4DD8FA0-DE88-4994-B585-DBD5057F88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48599" y="1634598"/>
            <a:ext cx="4343400" cy="730700"/>
          </a:xfrm>
          <a:prstGeom prst="rect">
            <a:avLst/>
          </a:prstGeom>
          <a:solidFill>
            <a:srgbClr val="6FC055"/>
          </a:solidFill>
        </p:spPr>
        <p:txBody>
          <a:bodyPr lIns="182880" rIns="182880"/>
          <a:lstStyle>
            <a:lvl1pPr marL="0">
              <a:defRPr sz="2200" b="0" i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B632D70-FA9B-43F9-B923-4D706DCB1F2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48600" y="2362202"/>
            <a:ext cx="4343400" cy="3001493"/>
          </a:xfrm>
          <a:prstGeom prst="rect">
            <a:avLst/>
          </a:prstGeom>
          <a:solidFill>
            <a:srgbClr val="6FC055"/>
          </a:solidFill>
        </p:spPr>
        <p:txBody>
          <a:bodyPr vert="horz" lIns="182880" tIns="182880" rIns="182880" bIns="182880" rtlCol="0" anchor="t">
            <a:normAutofit/>
          </a:bodyPr>
          <a:lstStyle>
            <a:lvl1pPr marL="0" indent="0">
              <a:buNone/>
              <a:defRPr lang="en-US" sz="1800" dirty="0">
                <a:solidFill>
                  <a:schemeClr val="bg1"/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You can quickly change out the images in this template by deleting an image and then clicking on the image placeholder icon to browse your machine for a replacement imag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686252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Area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060576"/>
            <a:ext cx="12192000" cy="110744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9F1E129-918B-4ECF-977F-27CBDC122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6061" y="3612512"/>
            <a:ext cx="5739632" cy="2712088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particular layout works great if you are comparing two things or only have two points to make. Use this as block text or create a bulleted list. 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A82B85D0-F597-4BE4-A325-A6DF6ECB7A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6061" y="3181702"/>
            <a:ext cx="5739632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6B6A3FC0-6ABF-487E-A6E5-4DC73548299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1"/>
            <a:ext cx="12192000" cy="20574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E2B40E7-4B77-4068-B43A-91E439D59E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56307" y="3612513"/>
            <a:ext cx="5670360" cy="2712088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particular layout works great if you are comparing two things or only have two points to make. Use this as block text or create a bulleted list. 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A8B860E-FBE4-4DC7-A34E-4B1ED358F1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56307" y="3181702"/>
            <a:ext cx="5670360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9547357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Area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9F1E129-918B-4ECF-977F-27CBDC122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3494" y="1606971"/>
            <a:ext cx="5310760" cy="1524000"/>
          </a:xfrm>
          <a:solidFill>
            <a:srgbClr val="007AC3"/>
          </a:solidFill>
          <a:ln>
            <a:noFill/>
          </a:ln>
        </p:spPr>
        <p:txBody>
          <a:bodyPr tIns="18288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his is the area to place your text content. It might describe the image below or vice versa.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6B6A3FC0-6ABF-487E-A6E5-4DC73548299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3493" y="3130971"/>
            <a:ext cx="5310761" cy="27382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5A8D96A6-4868-4E74-A7BC-65B2426851C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31280" y="3130973"/>
            <a:ext cx="5310761" cy="27382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B3823B0-AD49-4878-A483-8FCD4F3DB30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31280" y="1606971"/>
            <a:ext cx="5310760" cy="1524000"/>
          </a:xfrm>
          <a:solidFill>
            <a:srgbClr val="007AC3"/>
          </a:solidFill>
          <a:ln>
            <a:noFill/>
          </a:ln>
        </p:spPr>
        <p:txBody>
          <a:bodyPr tIns="182880" anchor="ctr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his is the area to place your text content. It might describe the image below or vice versa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8448982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all Out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D33C9D81-F47C-A1AB-14BC-E5AD4BEF197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255059" y="1336730"/>
            <a:ext cx="2293471" cy="2269631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76200">
            <a:gradFill>
              <a:gsLst>
                <a:gs pos="0">
                  <a:srgbClr val="03A0DC"/>
                </a:gs>
                <a:gs pos="20000">
                  <a:srgbClr val="03A0DC"/>
                </a:gs>
                <a:gs pos="60000">
                  <a:srgbClr val="007AC3"/>
                </a:gs>
                <a:gs pos="100000">
                  <a:schemeClr val="accent2">
                    <a:lumMod val="75000"/>
                  </a:schemeClr>
                </a:gs>
              </a:gsLst>
              <a:lin ang="5400000" scaled="1"/>
            </a:gradFill>
          </a:ln>
        </p:spPr>
        <p:txBody>
          <a:bodyPr>
            <a:noAutofit/>
          </a:bodyPr>
          <a:lstStyle>
            <a:lvl1pPr marL="12701" indent="0" algn="ctr">
              <a:buNone/>
              <a:defRPr sz="889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FFFF58A1-3102-6E09-6275-D718B123768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949265" y="1336728"/>
            <a:ext cx="2293471" cy="2269631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76200">
            <a:gradFill>
              <a:gsLst>
                <a:gs pos="0">
                  <a:srgbClr val="03A0DC"/>
                </a:gs>
                <a:gs pos="20000">
                  <a:srgbClr val="03A0DC"/>
                </a:gs>
                <a:gs pos="60000">
                  <a:srgbClr val="007AC3"/>
                </a:gs>
                <a:gs pos="100000">
                  <a:schemeClr val="accent2">
                    <a:lumMod val="75000"/>
                  </a:schemeClr>
                </a:gs>
              </a:gsLst>
              <a:lin ang="5400000" scaled="1"/>
            </a:gradFill>
          </a:ln>
        </p:spPr>
        <p:txBody>
          <a:bodyPr>
            <a:noAutofit/>
          </a:bodyPr>
          <a:lstStyle>
            <a:lvl1pPr marL="12701" indent="0" algn="ctr">
              <a:buNone/>
              <a:defRPr sz="889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2723B9FC-B9A6-5092-BBA4-81D89F3197BA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721165" y="1336728"/>
            <a:ext cx="2293471" cy="2269631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76200">
            <a:gradFill>
              <a:gsLst>
                <a:gs pos="0">
                  <a:srgbClr val="03A0DC"/>
                </a:gs>
                <a:gs pos="20000">
                  <a:srgbClr val="03A0DC"/>
                </a:gs>
                <a:gs pos="60000">
                  <a:srgbClr val="007AC3"/>
                </a:gs>
                <a:gs pos="100000">
                  <a:schemeClr val="accent2">
                    <a:lumMod val="75000"/>
                  </a:schemeClr>
                </a:gs>
              </a:gsLst>
              <a:lin ang="5400000" scaled="1"/>
            </a:gradFill>
          </a:ln>
        </p:spPr>
        <p:txBody>
          <a:bodyPr>
            <a:noAutofit/>
          </a:bodyPr>
          <a:lstStyle>
            <a:lvl1pPr marL="12701" indent="0" algn="ctr">
              <a:buNone/>
              <a:defRPr sz="889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5A9C36F-4051-E9CC-EC06-6CE684EF45D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3813" y="4060497"/>
            <a:ext cx="3429000" cy="1942367"/>
          </a:xfrm>
        </p:spPr>
        <p:txBody>
          <a:bodyPr tIns="18288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e three column layout is not only a visually pleasing layout, it’s also super flexible. You can vary the type of content in each column.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159CFA1-838A-A836-8D4A-807DE5967B3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3733036"/>
            <a:ext cx="3429000" cy="305043"/>
          </a:xfrm>
        </p:spPr>
        <p:txBody>
          <a:bodyPr vert="horz" lIns="274320" tIns="0" rIns="274320" bIns="0" rtlCol="0" anchor="ctr">
            <a:noAutofit/>
          </a:bodyPr>
          <a:lstStyle>
            <a:lvl1pPr marL="0" indent="0" algn="ctr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4EED09A6-A800-74BA-57A7-D13F06CCF5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75713" y="4060495"/>
            <a:ext cx="3429000" cy="1942367"/>
          </a:xfrm>
        </p:spPr>
        <p:txBody>
          <a:bodyPr tIns="18288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e beauty of using the three column layout is that it helps the brain quickly organize the information on the slide. 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8892790B-8A88-92D8-C67E-C952B2B4A2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81500" y="3733036"/>
            <a:ext cx="3429000" cy="305043"/>
          </a:xfrm>
        </p:spPr>
        <p:txBody>
          <a:bodyPr vert="horz" lIns="274320" tIns="0" rIns="274320" bIns="0" rtlCol="0" anchor="ctr">
            <a:noAutofit/>
          </a:bodyPr>
          <a:lstStyle>
            <a:lvl1pPr marL="0" indent="0" algn="ctr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Title Goes Her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0B152ED-24B0-255F-4F38-569F96579E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53400" y="4060497"/>
            <a:ext cx="3429000" cy="1942367"/>
          </a:xfrm>
        </p:spPr>
        <p:txBody>
          <a:bodyPr tIns="18288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But don’t limit yourself to this particular look.  Each column could consist of a simple combination of image and text or several stacked images. 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F70C9E1-3200-B34F-0851-A0EB98D27EB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53400" y="3733036"/>
            <a:ext cx="3429000" cy="305043"/>
          </a:xfrm>
        </p:spPr>
        <p:txBody>
          <a:bodyPr vert="horz" lIns="274320" tIns="0" rIns="274320" bIns="0" rtlCol="0" anchor="ctr">
            <a:noAutofit/>
          </a:bodyPr>
          <a:lstStyle>
            <a:lvl1pPr marL="0" indent="0" algn="ctr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Title Goes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3262568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all Out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9F1E129-918B-4ECF-977F-27CBDC122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3813" y="3429000"/>
            <a:ext cx="3429000" cy="2743200"/>
          </a:xfrm>
        </p:spPr>
        <p:txBody>
          <a:bodyPr tIns="18288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e three column layout is not only a visually pleasing layout, it’s also super flexible. You can vary the type of content in each column.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A82B85D0-F597-4BE4-A325-A6DF6ECB7A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2991505"/>
            <a:ext cx="3429000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 algn="ctr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29F74D1-3DF0-46BA-99D9-840D25A68B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75713" y="3428999"/>
            <a:ext cx="3429000" cy="2743200"/>
          </a:xfrm>
        </p:spPr>
        <p:txBody>
          <a:bodyPr tIns="18288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e beauty of using the three column layout is that it helps the brain quickly organize the information on the slide. 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211B096-207D-49B2-8820-9A96C2D5195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81500" y="2991505"/>
            <a:ext cx="3429000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 algn="ctr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Title Goes He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E2B40E7-4B77-4068-B43A-91E439D59E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53400" y="3429000"/>
            <a:ext cx="3429000" cy="2743200"/>
          </a:xfrm>
        </p:spPr>
        <p:txBody>
          <a:bodyPr tIns="18288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But don’t limit yourself to this particular look.  Each column could consist of a simple combination of image and text or several stacked images. 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A8B860E-FBE4-4DC7-A34E-4B1ED358F1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53400" y="2991505"/>
            <a:ext cx="3429000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 algn="ctr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Title Goes Her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230236C-8368-40AE-BF2C-20417EB6C85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182100" y="1363671"/>
            <a:ext cx="1371600" cy="1371600"/>
          </a:xfrm>
          <a:prstGeom prst="ellipse">
            <a:avLst/>
          </a:prstGeom>
          <a:solidFill>
            <a:srgbClr val="6FC055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  <a:latin typeface="Oswald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FED87A12-B489-466B-B3DC-2C6E06E3E46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404413" y="1363671"/>
            <a:ext cx="1371600" cy="1371600"/>
          </a:xfrm>
          <a:prstGeom prst="ellipse">
            <a:avLst/>
          </a:prstGeom>
          <a:solidFill>
            <a:srgbClr val="02A0DC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  <a:latin typeface="Oswald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ED20595B-FE03-4071-A078-87E283B7AB1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626726" y="1363671"/>
            <a:ext cx="1371600" cy="1371600"/>
          </a:xfrm>
          <a:prstGeom prst="ellipse">
            <a:avLst/>
          </a:prstGeom>
          <a:solidFill>
            <a:srgbClr val="007AC3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aseline="0">
                <a:solidFill>
                  <a:schemeClr val="bg1"/>
                </a:solidFill>
                <a:latin typeface="Oswald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 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7113464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all Out - Op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9F1E129-918B-4ECF-977F-27CBDC122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96934" y="3097436"/>
            <a:ext cx="4800599" cy="799471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A82B85D0-F597-4BE4-A325-A6DF6ECB7A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96934" y="2666626"/>
            <a:ext cx="4800599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6B6A3FC0-6ABF-487E-A6E5-4DC73548299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97535" y="2660226"/>
            <a:ext cx="5329294" cy="3688274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29F74D1-3DF0-46BA-99D9-840D25A68B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96934" y="4318748"/>
            <a:ext cx="4800599" cy="799471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211B096-207D-49B2-8820-9A96C2D5195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96934" y="3887937"/>
            <a:ext cx="4800599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E2B40E7-4B77-4068-B43A-91E439D59E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96934" y="5549031"/>
            <a:ext cx="4800599" cy="799471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A8B860E-FBE4-4DC7-A34E-4B1ED358F1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96934" y="5118220"/>
            <a:ext cx="4800599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Title Goes Here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CB361DFF-4E10-42ED-B04A-B0E92A41F2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65174" y="2516149"/>
            <a:ext cx="731763" cy="731763"/>
          </a:xfrm>
          <a:prstGeom prst="ellipse">
            <a:avLst/>
          </a:prstGeom>
          <a:solidFill>
            <a:srgbClr val="007AC3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25A1BD48-FEFA-4BF9-A982-932B01039C4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5173" y="3737461"/>
            <a:ext cx="731763" cy="731763"/>
          </a:xfrm>
          <a:prstGeom prst="ellipse">
            <a:avLst/>
          </a:prstGeom>
          <a:solidFill>
            <a:srgbClr val="007AC3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70B52F1D-35BD-4B64-8559-0543811984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65173" y="4967743"/>
            <a:ext cx="731763" cy="731763"/>
          </a:xfrm>
          <a:prstGeom prst="ellipse">
            <a:avLst/>
          </a:prstGeom>
          <a:solidFill>
            <a:srgbClr val="007AC3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497234ED-76A3-EA04-FC68-A92892C536B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4800" y="1368636"/>
            <a:ext cx="11569700" cy="1138543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call out text. This is a great location to provide an overview or an introduction to the topic of the slide. The bulleted sections that follow are grouped for quick identification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71019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all Out - Op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9F1E129-918B-4ECF-977F-27CBDC122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15414" y="3146641"/>
            <a:ext cx="4880345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A82B85D0-F597-4BE4-A325-A6DF6ECB7A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15414" y="2715831"/>
            <a:ext cx="4880345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6B6A3FC0-6ABF-487E-A6E5-4DC73548299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88479" y="2715831"/>
            <a:ext cx="5329294" cy="3681876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29F74D1-3DF0-46BA-99D9-840D25A68B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5414" y="4367953"/>
            <a:ext cx="4880345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211B096-207D-49B2-8820-9A96C2D5195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15414" y="3937142"/>
            <a:ext cx="4880345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Title Goes He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E2B40E7-4B77-4068-B43A-91E439D59E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15414" y="5598236"/>
            <a:ext cx="4880345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A8B860E-FBE4-4DC7-A34E-4B1ED358F1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15414" y="5167425"/>
            <a:ext cx="4880345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CB361DFF-4E10-42ED-B04A-B0E92A41F2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83654" y="2565354"/>
            <a:ext cx="731763" cy="731763"/>
          </a:xfrm>
          <a:prstGeom prst="ellipse">
            <a:avLst/>
          </a:prstGeom>
          <a:solidFill>
            <a:srgbClr val="6FC055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25A1BD48-FEFA-4BF9-A982-932B01039C4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83653" y="3786666"/>
            <a:ext cx="731763" cy="731763"/>
          </a:xfrm>
          <a:prstGeom prst="ellipse">
            <a:avLst/>
          </a:prstGeom>
          <a:solidFill>
            <a:srgbClr val="6FC055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70B52F1D-35BD-4B64-8559-0543811984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83653" y="5016948"/>
            <a:ext cx="731763" cy="731763"/>
          </a:xfrm>
          <a:prstGeom prst="ellipse">
            <a:avLst/>
          </a:prstGeom>
          <a:solidFill>
            <a:srgbClr val="6FC055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3E085B22-6F0D-824F-8DE8-02047F600EB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4800" y="1368636"/>
            <a:ext cx="11569700" cy="1138543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call out text. This is a great location to provide an overview or an introduction to the topic of the slide. The bulleted sections that follow are grouped for quick identification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4974617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all Out - Opt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9F1E129-918B-4ECF-977F-27CBDC122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2271" y="3046636"/>
            <a:ext cx="5343178" cy="799471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A82B85D0-F597-4BE4-A325-A6DF6ECB7A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2271" y="2615826"/>
            <a:ext cx="5343178" cy="430811"/>
          </a:xfrm>
          <a:solidFill>
            <a:srgbClr val="007AC3"/>
          </a:solidFill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6B6A3FC0-6ABF-487E-A6E5-4DC73548299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97535" y="2609426"/>
            <a:ext cx="5329294" cy="3688274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29F74D1-3DF0-46BA-99D9-840D25A68B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2271" y="4267948"/>
            <a:ext cx="5343178" cy="799471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211B096-207D-49B2-8820-9A96C2D5195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2271" y="3837137"/>
            <a:ext cx="5343178" cy="430811"/>
          </a:xfrm>
          <a:solidFill>
            <a:srgbClr val="007AC3"/>
          </a:solidFill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Title Goes He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E2B40E7-4B77-4068-B43A-91E439D59E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2271" y="5518242"/>
            <a:ext cx="5343178" cy="799471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A8B860E-FBE4-4DC7-A34E-4B1ED358F1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2271" y="5067420"/>
            <a:ext cx="5343178" cy="430811"/>
          </a:xfrm>
          <a:solidFill>
            <a:srgbClr val="007AC3"/>
          </a:solidFill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DCD361B-8F31-5330-1B0C-960BC0D0245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4800" y="1368636"/>
            <a:ext cx="11569700" cy="1138543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call out text. This is a great location to provide an overview or an introduction to the topic of the slide. The bulleted sections that follow are grouped for quick identification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9751702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all Out - Option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9F1E129-918B-4ECF-977F-27CBDC122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97535" y="3057741"/>
            <a:ext cx="5329294" cy="799471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A82B85D0-F597-4BE4-A325-A6DF6ECB7A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97535" y="2626931"/>
            <a:ext cx="5329294" cy="430811"/>
          </a:xfrm>
          <a:solidFill>
            <a:srgbClr val="007AC3"/>
          </a:solidFill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6B6A3FC0-6ABF-487E-A6E5-4DC73548299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00071" y="2626929"/>
            <a:ext cx="5329294" cy="3681876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29F74D1-3DF0-46BA-99D9-840D25A68B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97535" y="4290981"/>
            <a:ext cx="5329294" cy="799471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211B096-207D-49B2-8820-9A96C2D5195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7535" y="3848242"/>
            <a:ext cx="5329294" cy="430811"/>
          </a:xfrm>
          <a:solidFill>
            <a:srgbClr val="007AC3"/>
          </a:solidFill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Title Goes He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E2B40E7-4B77-4068-B43A-91E439D59E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97535" y="5509336"/>
            <a:ext cx="5329294" cy="799471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A8B860E-FBE4-4DC7-A34E-4B1ED358F1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97535" y="5078525"/>
            <a:ext cx="5329294" cy="430811"/>
          </a:xfrm>
          <a:solidFill>
            <a:srgbClr val="007AC3"/>
          </a:solidFill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Title Goes Her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F3C0FFF1-BBC4-42E4-115F-51CD3E00395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4800" y="1368636"/>
            <a:ext cx="11569700" cy="1138543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call out text. This is a great location to provide an overview or an introduction to the topic of the slide. The bulleted sections that follow are grouped for quick identification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164920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6DEB8694-2647-D84B-847E-EA7C270D79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8475" y="247345"/>
            <a:ext cx="10515600" cy="1325563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5333" spc="-53" baseline="0">
                <a:solidFill>
                  <a:schemeClr val="tx1">
                    <a:lumMod val="85000"/>
                    <a:lumOff val="15000"/>
                  </a:schemeClr>
                </a:solidFill>
                <a:latin typeface="Roboto Condensed Light" panose="02000000000000000000" pitchFamily="2" charset="0"/>
                <a:ea typeface="Roboto Condensed Light" panose="02000000000000000000" pitchFamily="2" charset="0"/>
              </a:defRPr>
            </a:lvl1pPr>
          </a:lstStyle>
          <a:p>
            <a:r>
              <a:rPr lang="en-US"/>
              <a:t>Now this is a sample headlin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82B82C85-5E6E-DB4E-9296-72A258E35B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9211" y="1572908"/>
            <a:ext cx="10515600" cy="4351339"/>
          </a:xfrm>
          <a:prstGeom prst="rect">
            <a:avLst/>
          </a:prstGeom>
        </p:spPr>
        <p:txBody>
          <a:bodyPr/>
          <a:lstStyle>
            <a:lvl1pPr marL="243834" indent="-243834">
              <a:lnSpc>
                <a:spcPts val="3467"/>
              </a:lnSpc>
              <a:spcBef>
                <a:spcPts val="1333"/>
              </a:spcBef>
              <a:buClr>
                <a:srgbClr val="23A3DD"/>
              </a:buClr>
              <a:buFont typeface="Arial" panose="020B0604020202020204" pitchFamily="34" charset="0"/>
              <a:buChar char="•"/>
              <a:defRPr sz="3200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  <a:lvl2pPr marL="536435" indent="-243834">
              <a:spcBef>
                <a:spcPts val="800"/>
              </a:spcBef>
              <a:buClr>
                <a:srgbClr val="23A3DD"/>
              </a:buClr>
              <a:buSzPct val="70000"/>
              <a:buFont typeface="System Font Regular"/>
              <a:buChar char="–"/>
              <a:defRPr sz="3200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 marL="914377" indent="0">
              <a:buFontTx/>
              <a:buNone/>
              <a:defRPr sz="2667" b="0" i="0" baseline="0">
                <a:solidFill>
                  <a:schemeClr val="tx1">
                    <a:lumMod val="85000"/>
                    <a:lumOff val="1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 marL="1371566" indent="0">
              <a:buFontTx/>
              <a:buNone/>
              <a:defRPr/>
            </a:lvl4pPr>
            <a:lvl5pPr marL="1828754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DF3E013-519D-224F-8A4F-FFEF1CFAB06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36546" y="247345"/>
            <a:ext cx="159698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51026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all Out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9F1E129-918B-4ECF-977F-27CBDC122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87317" y="2890160"/>
            <a:ext cx="3221031" cy="1060666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6B6A3FC0-6ABF-487E-A6E5-4DC73548299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65172" y="2459349"/>
            <a:ext cx="2122147" cy="148653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29F74D1-3DF0-46BA-99D9-840D25A68B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05801" y="2890160"/>
            <a:ext cx="3221031" cy="1060666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897E657B-345E-4E88-A4F1-07A178DDBB5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4105" y="1106242"/>
            <a:ext cx="11510211" cy="1138543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callout text. This is a great location to provide an overview or an introduction to the topic of the slide. The bulleted sections that follow are grouped for quick identification.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A9BA207-0B3C-48C8-90B8-5B1A11D2F7C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787317" y="4669133"/>
            <a:ext cx="3221031" cy="1060666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7BC1DB0-A896-43A5-8601-49FA85DD10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05801" y="4669133"/>
            <a:ext cx="3221031" cy="1060666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1A0CDEE3-DFA8-4B0F-84DE-069537B8606C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88820" y="4243268"/>
            <a:ext cx="2122147" cy="148653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AB68E92D-F5C8-43B0-A25B-C8E825C0655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183656" y="2434390"/>
            <a:ext cx="2122147" cy="148653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856CA54F-4A74-463B-85B9-B3CBDEECE209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178399" y="4243268"/>
            <a:ext cx="2122147" cy="148653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541601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all Out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9F1E129-918B-4ECF-977F-27CBDC122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3485" y="4407219"/>
            <a:ext cx="2635170" cy="2033533"/>
          </a:xfrm>
        </p:spPr>
        <p:txBody>
          <a:bodyPr tIns="18288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 for the learner.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A82B85D0-F597-4BE4-A325-A6DF6ECB7A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3485" y="3976408"/>
            <a:ext cx="2635170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 algn="ctr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6B6A3FC0-6ABF-487E-A6E5-4DC73548299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83484" y="2454927"/>
            <a:ext cx="2635170" cy="148653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29F74D1-3DF0-46BA-99D9-840D25A68B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74806" y="4368194"/>
            <a:ext cx="2635171" cy="2033533"/>
          </a:xfrm>
        </p:spPr>
        <p:txBody>
          <a:bodyPr tIns="18288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/>
              <a:t>This is the area to place your text content for the learner.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211B096-207D-49B2-8820-9A96C2D5195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74806" y="3937383"/>
            <a:ext cx="2635171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 algn="ctr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Title Goes Her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897E657B-345E-4E88-A4F1-07A178DDBB5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0969" y="1101820"/>
            <a:ext cx="11483879" cy="1138543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callout text. This is a great location to provide an overview or an introduction to the topic of the slide. The bulleted sections that follow are grouped for quick identification.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A9BA207-0B3C-48C8-90B8-5B1A11D2F7C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79145" y="4407219"/>
            <a:ext cx="2635170" cy="2033533"/>
          </a:xfrm>
        </p:spPr>
        <p:txBody>
          <a:bodyPr tIns="18288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/>
              <a:t>This is the area to place your text content for the learner.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F7746CC-E985-493D-A2CC-7C8B08D4B61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79145" y="3976408"/>
            <a:ext cx="2635170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 algn="ctr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Title Goes Her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7BC1DB0-A896-43A5-8601-49FA85DD103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970463" y="4368194"/>
            <a:ext cx="2635171" cy="2033533"/>
          </a:xfrm>
        </p:spPr>
        <p:txBody>
          <a:bodyPr tIns="18288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/>
              <a:t>This is the area to place your text content for the learner.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B2B92EC9-5BB2-4CBF-8358-EC6071E35CE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70463" y="3937383"/>
            <a:ext cx="2635171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 algn="ctr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Title Goes Her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AB68E92D-F5C8-43B0-A25B-C8E825C0655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3379144" y="2450687"/>
            <a:ext cx="2635170" cy="148653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83893298-3F3F-451C-B999-0F8AEC9C5117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177685" y="2447205"/>
            <a:ext cx="2635170" cy="148653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D014F8F6-B51B-4673-8C1A-903B4F571D8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8973345" y="2442965"/>
            <a:ext cx="2635170" cy="148653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4846430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all Out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DBFC31-BDDD-4F38-92F6-B8FFCACD5D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5B9D08DB-05A8-4C80-9C88-CA0765ADB8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873493"/>
            <a:ext cx="3044952" cy="3298709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Write concise call out text that will make an impact for the audience.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8E37603-640E-49FA-8656-9ECC1C5D783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14402" y="1501893"/>
            <a:ext cx="2140768" cy="1371600"/>
          </a:xfrm>
          <a:solidFill>
            <a:srgbClr val="007AC3"/>
          </a:solidFill>
          <a:ln>
            <a:solidFill>
              <a:srgbClr val="007AC3"/>
            </a:solidFill>
          </a:ln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dirty="0">
                <a:solidFill>
                  <a:schemeClr val="bg1"/>
                </a:solidFill>
                <a:latin typeface="+mn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Call Out Tit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E69F4ED5-A8EF-4617-BB46-BF9AF288110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0" y="1501893"/>
            <a:ext cx="1031236" cy="1371600"/>
          </a:xfrm>
          <a:solidFill>
            <a:srgbClr val="007AC3"/>
          </a:solidFill>
          <a:ln>
            <a:solidFill>
              <a:srgbClr val="007AC3"/>
            </a:solidFill>
          </a:ln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800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01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D7C0856F-8F55-4CF3-AD4E-D3FECA27B85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4952" y="2873492"/>
            <a:ext cx="3044952" cy="3298709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Write concise call out text that will make an impact for the audience. 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2977C882-05F5-4523-944D-07238CB9102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74295" y="1501892"/>
            <a:ext cx="2130551" cy="1371600"/>
          </a:xfrm>
          <a:solidFill>
            <a:srgbClr val="03A0DC"/>
          </a:solidFill>
          <a:ln>
            <a:solidFill>
              <a:srgbClr val="03A0DC"/>
            </a:solidFill>
          </a:ln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dirty="0">
                <a:solidFill>
                  <a:schemeClr val="bg1"/>
                </a:solidFill>
                <a:latin typeface="+mn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Call Out 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A314998-669D-42F3-8D2A-E75B9ACDF8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59893" y="1501892"/>
            <a:ext cx="1031236" cy="1371600"/>
          </a:xfrm>
          <a:solidFill>
            <a:srgbClr val="03A0DC"/>
          </a:solidFill>
          <a:ln>
            <a:solidFill>
              <a:srgbClr val="03A0DC"/>
            </a:solidFill>
          </a:ln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800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02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AFFD9560-E68B-4333-957F-AC68FD4E4D3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02098" y="2873492"/>
            <a:ext cx="3044952" cy="3298709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Write concise call out text that will make an impact for the audience. 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95D1007-062A-4A83-90C2-B2DE35F7722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23970" y="1501892"/>
            <a:ext cx="2130551" cy="1371600"/>
          </a:xfrm>
          <a:solidFill>
            <a:srgbClr val="21C0D4"/>
          </a:solidFill>
          <a:ln>
            <a:solidFill>
              <a:srgbClr val="21C0D4"/>
            </a:solidFill>
          </a:ln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dirty="0">
                <a:solidFill>
                  <a:schemeClr val="bg1"/>
                </a:solidFill>
                <a:latin typeface="+mn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Call Out Tit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231E6971-7DFD-4569-B0D9-42EB5033D5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9568" y="1501892"/>
            <a:ext cx="1031236" cy="1371600"/>
          </a:xfrm>
          <a:solidFill>
            <a:srgbClr val="21C0D4"/>
          </a:solidFill>
          <a:ln>
            <a:solidFill>
              <a:srgbClr val="21C0D4"/>
            </a:solidFill>
          </a:ln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800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03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A8BE917F-0D7D-433A-AE12-651F3632FB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159244" y="2873492"/>
            <a:ext cx="3020564" cy="3298709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Write concise call out text that will make an impact for the audience. 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CC5B7FC-96E7-44A7-AC81-1383F2029E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073644" y="1501892"/>
            <a:ext cx="2106164" cy="1371600"/>
          </a:xfrm>
          <a:solidFill>
            <a:srgbClr val="6FC055"/>
          </a:solidFill>
          <a:ln>
            <a:solidFill>
              <a:srgbClr val="6FC055"/>
            </a:solidFill>
          </a:ln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dirty="0">
                <a:solidFill>
                  <a:schemeClr val="bg1"/>
                </a:solidFill>
                <a:latin typeface="+mn-lt"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Call Out Titl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E8A56EC-CB35-4001-8E6F-5CE2927BCB2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59244" y="1501892"/>
            <a:ext cx="1031236" cy="1371600"/>
          </a:xfrm>
          <a:solidFill>
            <a:srgbClr val="6FC055"/>
          </a:solidFill>
          <a:ln>
            <a:solidFill>
              <a:srgbClr val="6FC055"/>
            </a:solidFill>
          </a:ln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800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04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2944291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all Out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897E657B-345E-4E88-A4F1-07A178DDBB5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4800" y="1368636"/>
            <a:ext cx="11569700" cy="1138543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callout text. This is a great location to provide an overview or an introduction to the topic of the slide. The bulleted sections that follow are grouped for quick identification.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679C4411-CAF7-00C1-B1AC-B26403FE24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4971" y="3952865"/>
            <a:ext cx="2844865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D878373E-0BD8-9612-ED9E-12C8443526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4971" y="3522055"/>
            <a:ext cx="2844865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1C4E86E4-4072-099A-B76C-6C19134A67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38566" y="3965191"/>
            <a:ext cx="2844865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F61D1B9B-C0BF-C07A-025E-C438FD3D0DD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38566" y="3534379"/>
            <a:ext cx="2844865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D991DED4-F822-B8D6-47EA-A5FE862D98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38269" y="3965190"/>
            <a:ext cx="2844865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9CD3FED8-F797-8B4C-C88D-1946C34BC1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38269" y="3534379"/>
            <a:ext cx="2844865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D3F4C64A-9C7F-8BE2-6E50-DFC49419AF5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620" y="2768804"/>
            <a:ext cx="731763" cy="731763"/>
          </a:xfrm>
          <a:prstGeom prst="ellipse">
            <a:avLst/>
          </a:prstGeom>
          <a:solidFill>
            <a:srgbClr val="007AC3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EDDD0111-ECED-4B93-2CDD-E40A73D320F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84214" y="2789916"/>
            <a:ext cx="731763" cy="731763"/>
          </a:xfrm>
          <a:prstGeom prst="ellipse">
            <a:avLst/>
          </a:prstGeom>
          <a:solidFill>
            <a:srgbClr val="007AC3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D2B26B93-CDA9-04C1-3AB6-AC85BB7142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87809" y="2802616"/>
            <a:ext cx="731763" cy="731763"/>
          </a:xfrm>
          <a:prstGeom prst="ellipse">
            <a:avLst/>
          </a:prstGeom>
          <a:solidFill>
            <a:srgbClr val="007AC3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9624531C-C3D2-36CA-16E8-45D08544E01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29635" y="3965190"/>
            <a:ext cx="2844865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8B6DADBD-55D3-4524-26B5-059FA96F5A2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29635" y="3534379"/>
            <a:ext cx="2844865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4A48C63E-E746-C4F1-81C9-36D6CDAB45D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74811" y="2802225"/>
            <a:ext cx="731763" cy="731763"/>
          </a:xfrm>
          <a:prstGeom prst="ellipse">
            <a:avLst/>
          </a:prstGeom>
          <a:solidFill>
            <a:srgbClr val="007AC3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4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9209362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all Out - Op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9F1E129-918B-4ECF-977F-27CBDC122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31736" y="2534798"/>
            <a:ext cx="5995093" cy="799471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29F74D1-3DF0-46BA-99D9-840D25A68B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31736" y="3431768"/>
            <a:ext cx="5995093" cy="799471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E2B40E7-4B77-4068-B43A-91E439D59E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31736" y="4328738"/>
            <a:ext cx="5995093" cy="799471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CB361DFF-4E10-42ED-B04A-B0E92A41F2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89364" y="2563881"/>
            <a:ext cx="731763" cy="731763"/>
          </a:xfrm>
          <a:prstGeom prst="ellipse">
            <a:avLst/>
          </a:prstGeom>
          <a:solidFill>
            <a:srgbClr val="6FC055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25A1BD48-FEFA-4BF9-A982-932B01039C4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89363" y="3460680"/>
            <a:ext cx="731763" cy="731763"/>
          </a:xfrm>
          <a:prstGeom prst="ellipse">
            <a:avLst/>
          </a:prstGeom>
          <a:solidFill>
            <a:srgbClr val="6FC055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70B52F1D-35BD-4B64-8559-0543811984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87434" y="4357479"/>
            <a:ext cx="731763" cy="731763"/>
          </a:xfrm>
          <a:prstGeom prst="ellipse">
            <a:avLst/>
          </a:prstGeom>
          <a:solidFill>
            <a:srgbClr val="6FC055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897E657B-345E-4E88-A4F1-07A178DDBB5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0182" y="1149338"/>
            <a:ext cx="11537758" cy="1138543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e list layout is a classic means of presenting several key call-out facts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4FA404B-244E-44CA-9FE4-66430519C9C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467" y="6436628"/>
            <a:ext cx="718641" cy="274320"/>
          </a:xfrm>
          <a:prstGeom prst="rect">
            <a:avLst/>
          </a:prstGeom>
        </p:spPr>
      </p:pic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30972F9-A8AE-4C73-BBCB-6E39C46DDB2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531736" y="5225708"/>
            <a:ext cx="5995093" cy="799471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79AA4E44-E7FD-4679-BF7A-C0AA03FAC1C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87434" y="5254279"/>
            <a:ext cx="731763" cy="731763"/>
          </a:xfrm>
          <a:prstGeom prst="ellipse">
            <a:avLst/>
          </a:prstGeom>
          <a:solidFill>
            <a:srgbClr val="6FC055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4EE78F23-C368-467B-89A1-1A08733B9C0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2270409"/>
            <a:ext cx="4553042" cy="4570119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12701" indent="0" algn="ctr">
              <a:buNone/>
              <a:defRPr/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Insert Character PNG with Transparent Background He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5285475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all Out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ECEA4B-7294-465E-9AD5-3A631CA5D4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58D9E0D2-526C-4B5F-A1EF-B11DD1800A4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64160" y="1149338"/>
            <a:ext cx="11528213" cy="1138543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2000"/>
            </a:lvl1pPr>
          </a:lstStyle>
          <a:p>
            <a:pPr lvl="0"/>
            <a:r>
              <a:rPr lang="en-US" dirty="0"/>
              <a:t>This is the callout text. This is a great location to provide an overview or an introduction to the topic of the slide. 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91817BA3-F6E5-A7F4-40E8-A5FFB73630A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0" y="4165600"/>
            <a:ext cx="12192000" cy="2692400"/>
          </a:xfrm>
          <a:solidFill>
            <a:srgbClr val="007AC3"/>
          </a:solidFill>
        </p:spPr>
        <p:txBody>
          <a:bodyPr tIns="0" bIns="0" anchor="ctr"/>
          <a:lstStyle>
            <a:lvl1pPr marL="12701" indent="0" algn="ctr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  <a:latin typeface="Oswald" pitchFamily="2" charset="0"/>
              </a:defRPr>
            </a:lvl1pPr>
          </a:lstStyle>
          <a:p>
            <a:pPr lvl="0"/>
            <a:r>
              <a:rPr lang="en-US" dirty="0"/>
              <a:t>  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0C41BC10-D1E8-52CB-19B1-8C20EE20684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6080" y="3292671"/>
            <a:ext cx="1693333" cy="1675731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 algn="ctr">
              <a:defRPr sz="889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3983CC0E-8575-9D3D-ACB8-133B139FE5BA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2767506" y="3292671"/>
            <a:ext cx="1693333" cy="1675731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 algn="ctr">
              <a:defRPr sz="889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7A4A135D-DB40-EC2B-52D0-E79F3341E51E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249334" y="3292671"/>
            <a:ext cx="1693333" cy="1675731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 algn="ctr">
              <a:defRPr sz="889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25C29BA8-CDD1-F462-2307-35023F17930E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672990" y="3292671"/>
            <a:ext cx="1693333" cy="1675731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 algn="ctr">
              <a:defRPr sz="889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9DBBFB19-0716-F8F9-0FFB-8EC4964F63BD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0054416" y="3292671"/>
            <a:ext cx="1693333" cy="1675731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 algn="ctr">
              <a:defRPr sz="889"/>
            </a:lvl1pPr>
          </a:lstStyle>
          <a:p>
            <a:r>
              <a:rPr lang="en-US" dirty="0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3304000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Call Out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897E657B-345E-4E88-A4F1-07A178DDBB5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2485" y="1368636"/>
            <a:ext cx="11530061" cy="1138543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callout text. This is a great location to provide an overview or an introduction to the topic of the slide. The bulleted sections that follow are grouped for quick identification.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096DD85-DD12-0A8E-312F-F0B04C5491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96935" y="3097436"/>
            <a:ext cx="4786714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2C8B9422-65BC-7C91-C40E-933ACFD0FF9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96934" y="2666626"/>
            <a:ext cx="4786713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9D903E0A-18A4-E612-F31B-A533A4C08A7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96935" y="4318748"/>
            <a:ext cx="4786714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0B5131EF-FB40-9E04-C5A5-A8C1E2D4DF9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96934" y="3887937"/>
            <a:ext cx="4786713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44B9273-F80D-9853-0AB6-0677EAAC92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96935" y="5549031"/>
            <a:ext cx="4786714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7679BF5E-5C41-296D-9C84-FFE27B1A524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96934" y="5118220"/>
            <a:ext cx="4786713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Title Goes Her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D55939A4-44F9-FD6D-E700-00C1CDC5C3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65174" y="2516149"/>
            <a:ext cx="731763" cy="731763"/>
          </a:xfrm>
          <a:prstGeom prst="ellipse">
            <a:avLst/>
          </a:prstGeom>
          <a:solidFill>
            <a:srgbClr val="007AC3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E031F898-78E3-93D0-6820-4CBF1DE66CE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5173" y="3737461"/>
            <a:ext cx="731763" cy="731763"/>
          </a:xfrm>
          <a:prstGeom prst="ellipse">
            <a:avLst/>
          </a:prstGeom>
          <a:solidFill>
            <a:srgbClr val="007AC3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B8774913-20C4-8E31-71A3-2DBD23229E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65173" y="4967743"/>
            <a:ext cx="731763" cy="731763"/>
          </a:xfrm>
          <a:prstGeom prst="ellipse">
            <a:avLst/>
          </a:prstGeom>
          <a:solidFill>
            <a:srgbClr val="007AC3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7E83CC79-9BE1-C906-DF7B-421FB8A076F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915412" y="3088465"/>
            <a:ext cx="4786714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0549E0C5-1B84-DE14-4E5B-D860B0D2599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915411" y="2657655"/>
            <a:ext cx="4786713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5BCA7FF5-A021-036D-5F55-A2A3D51061F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915412" y="4309778"/>
            <a:ext cx="4786714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F2E367A3-48CF-E4C1-9DC5-FC13400666E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915411" y="3878966"/>
            <a:ext cx="4786713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A0D974A4-8157-FD8F-79E6-DD04C7BE12C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15412" y="5540060"/>
            <a:ext cx="4786714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661CC482-5164-CD24-BF57-D28A749BD2D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15411" y="5109249"/>
            <a:ext cx="4786713" cy="430811"/>
          </a:xfrm>
        </p:spPr>
        <p:txBody>
          <a:bodyPr vert="horz" lIns="274320" tIns="0" rIns="274320" bIns="0" rtlCol="0" anchor="ctr">
            <a:normAutofit/>
          </a:bodyPr>
          <a:lstStyle>
            <a:lvl1pPr marL="0" indent="0">
              <a:buFont typeface="+mj-lt"/>
              <a:buNone/>
              <a:defRPr lang="en-US" sz="2200" b="0" i="0" dirty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/>
              <a:t>Title Goes Her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589A2B56-54CF-B7E2-CD62-E723191AEA9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83651" y="2507179"/>
            <a:ext cx="731763" cy="731763"/>
          </a:xfrm>
          <a:prstGeom prst="ellipse">
            <a:avLst/>
          </a:prstGeom>
          <a:solidFill>
            <a:srgbClr val="007AC3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8A4F7FE3-AFB2-66D2-ED47-41D14282959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83650" y="3728490"/>
            <a:ext cx="731763" cy="731763"/>
          </a:xfrm>
          <a:prstGeom prst="ellipse">
            <a:avLst/>
          </a:prstGeom>
          <a:solidFill>
            <a:srgbClr val="007AC3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9D152F51-D360-F97B-9B45-39BAEB21C30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3650" y="4958772"/>
            <a:ext cx="731763" cy="731763"/>
          </a:xfrm>
          <a:prstGeom prst="ellipse">
            <a:avLst/>
          </a:prstGeom>
          <a:solidFill>
            <a:srgbClr val="007AC3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6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2606022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Call Out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AA8F5CFF-DDB9-121C-4B6A-1871B30BA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96871" y="2746365"/>
            <a:ext cx="2654365" cy="1022617"/>
          </a:xfrm>
        </p:spPr>
        <p:txBody>
          <a:bodyPr tIns="18288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7DCF22F-FFBD-E72D-1090-D9D31C3423D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6871" y="2315555"/>
            <a:ext cx="2654365" cy="430811"/>
          </a:xfrm>
          <a:solidFill>
            <a:srgbClr val="007AC3"/>
          </a:solidFill>
        </p:spPr>
        <p:txBody>
          <a:bodyPr vert="horz" lIns="274320" tIns="0" rIns="274320" bIns="0" rtlCol="0" anchor="ctr">
            <a:normAutofit/>
          </a:bodyPr>
          <a:lstStyle>
            <a:lvl1pPr marL="0" indent="0" algn="ctr">
              <a:buFont typeface="+mj-lt"/>
              <a:buNone/>
              <a:defRPr lang="en-US" sz="2200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95546747-CC97-CC04-3C69-80C4350B32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0466" y="2758691"/>
            <a:ext cx="2654365" cy="1022617"/>
          </a:xfrm>
        </p:spPr>
        <p:txBody>
          <a:bodyPr tIns="18288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11990278-24DF-3B55-4CB3-F8C5F15B0D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00466" y="2327879"/>
            <a:ext cx="2654365" cy="430811"/>
          </a:xfrm>
          <a:solidFill>
            <a:srgbClr val="007AC3"/>
          </a:solidFill>
        </p:spPr>
        <p:txBody>
          <a:bodyPr vert="horz" lIns="274320" tIns="0" rIns="274320" bIns="0" rtlCol="0" anchor="ctr">
            <a:normAutofit/>
          </a:bodyPr>
          <a:lstStyle>
            <a:lvl1pPr marL="0" indent="0" algn="ctr">
              <a:buFont typeface="+mj-lt"/>
              <a:buNone/>
              <a:defRPr lang="en-US" sz="2200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D5B6E361-48F2-99A0-2DF8-CFCDA3A233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169" y="2758690"/>
            <a:ext cx="2654365" cy="1022617"/>
          </a:xfrm>
        </p:spPr>
        <p:txBody>
          <a:bodyPr tIns="18288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07CEDA5A-5E11-DEC2-C28E-2A7B16D027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00169" y="2327879"/>
            <a:ext cx="2654365" cy="430811"/>
          </a:xfrm>
          <a:solidFill>
            <a:srgbClr val="007AC3"/>
          </a:solidFill>
        </p:spPr>
        <p:txBody>
          <a:bodyPr vert="horz" lIns="274320" tIns="0" rIns="274320" bIns="0" rtlCol="0" anchor="ctr">
            <a:normAutofit/>
          </a:bodyPr>
          <a:lstStyle>
            <a:lvl1pPr marL="0" indent="0" algn="ctr">
              <a:buFont typeface="+mj-lt"/>
              <a:buNone/>
              <a:defRPr lang="en-US" sz="2200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FF3E82D4-8F50-6535-810B-6A2DFD865F4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04516" y="1502540"/>
            <a:ext cx="731763" cy="731763"/>
          </a:xfrm>
          <a:prstGeom prst="ellipse">
            <a:avLst/>
          </a:prstGeom>
          <a:solidFill>
            <a:srgbClr val="6FC055"/>
          </a:solidFill>
          <a:ln w="38100">
            <a:solidFill>
              <a:srgbClr val="6FC055"/>
            </a:solidFill>
          </a:ln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8CC5098-FDDD-3B6B-359B-3EFA40C0EF0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08111" y="1516181"/>
            <a:ext cx="731763" cy="731763"/>
          </a:xfrm>
          <a:prstGeom prst="ellipse">
            <a:avLst/>
          </a:prstGeom>
          <a:solidFill>
            <a:srgbClr val="6FC055"/>
          </a:solidFill>
          <a:ln w="38100">
            <a:solidFill>
              <a:srgbClr val="6FC055"/>
            </a:solidFill>
          </a:ln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8ADF5740-A123-2F71-3220-D052576426A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11705" y="1513940"/>
            <a:ext cx="731763" cy="731763"/>
          </a:xfrm>
          <a:prstGeom prst="ellipse">
            <a:avLst/>
          </a:prstGeom>
          <a:solidFill>
            <a:srgbClr val="6FC055"/>
          </a:solidFill>
          <a:ln w="38100">
            <a:solidFill>
              <a:srgbClr val="6FC055"/>
            </a:solidFill>
          </a:ln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8A5C0C35-C3B6-FBC3-3A48-DAB0E2320AF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91535" y="2758690"/>
            <a:ext cx="2654365" cy="1022617"/>
          </a:xfrm>
        </p:spPr>
        <p:txBody>
          <a:bodyPr tIns="18288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2D685F2A-12C5-87BA-4E41-64DD3C89DD9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91535" y="2327879"/>
            <a:ext cx="2654365" cy="430811"/>
          </a:xfrm>
          <a:solidFill>
            <a:srgbClr val="007AC3"/>
          </a:solidFill>
        </p:spPr>
        <p:txBody>
          <a:bodyPr vert="horz" lIns="274320" tIns="0" rIns="274320" bIns="0" rtlCol="0" anchor="ctr">
            <a:normAutofit/>
          </a:bodyPr>
          <a:lstStyle>
            <a:lvl1pPr marL="0" indent="0" algn="ctr">
              <a:buFont typeface="+mj-lt"/>
              <a:buNone/>
              <a:defRPr lang="en-US" sz="2200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C8130877-7C9B-863C-DBBD-0B28F00FFF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898708" y="1513548"/>
            <a:ext cx="731763" cy="731763"/>
          </a:xfrm>
          <a:prstGeom prst="ellipse">
            <a:avLst/>
          </a:prstGeom>
          <a:solidFill>
            <a:srgbClr val="6FC055"/>
          </a:solidFill>
          <a:ln w="38100">
            <a:solidFill>
              <a:srgbClr val="6FC055"/>
            </a:solidFill>
          </a:ln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A121A2B4-70C4-5FBF-C247-78C97B25B7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96871" y="5185143"/>
            <a:ext cx="2654365" cy="1022617"/>
          </a:xfrm>
        </p:spPr>
        <p:txBody>
          <a:bodyPr tIns="18288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30032D4B-97CB-43DC-45A4-BF2D5D05A69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96871" y="4754333"/>
            <a:ext cx="2654365" cy="430811"/>
          </a:xfrm>
          <a:solidFill>
            <a:srgbClr val="007AC3"/>
          </a:solidFill>
        </p:spPr>
        <p:txBody>
          <a:bodyPr vert="horz" lIns="274320" tIns="0" rIns="274320" bIns="0" rtlCol="0" anchor="ctr">
            <a:normAutofit/>
          </a:bodyPr>
          <a:lstStyle>
            <a:lvl1pPr marL="0" indent="0" algn="ctr">
              <a:buFont typeface="+mj-lt"/>
              <a:buNone/>
              <a:defRPr lang="en-US" sz="2200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2B4E4DAC-5C7B-0EF9-79C8-8E3328056D7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200466" y="5197469"/>
            <a:ext cx="2654365" cy="1022617"/>
          </a:xfrm>
        </p:spPr>
        <p:txBody>
          <a:bodyPr tIns="18288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17ED0471-4261-7813-DB68-3CDE074E1EA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200466" y="4766657"/>
            <a:ext cx="2654365" cy="430811"/>
          </a:xfrm>
          <a:solidFill>
            <a:srgbClr val="007AC3"/>
          </a:solidFill>
        </p:spPr>
        <p:txBody>
          <a:bodyPr vert="horz" lIns="274320" tIns="0" rIns="274320" bIns="0" rtlCol="0" anchor="ctr">
            <a:normAutofit/>
          </a:bodyPr>
          <a:lstStyle>
            <a:lvl1pPr marL="0" indent="0" algn="ctr">
              <a:buFont typeface="+mj-lt"/>
              <a:buNone/>
              <a:defRPr lang="en-US" sz="2200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4C45075E-0530-704F-10D5-DE40BB30C32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00169" y="5197468"/>
            <a:ext cx="2654365" cy="1022617"/>
          </a:xfrm>
        </p:spPr>
        <p:txBody>
          <a:bodyPr tIns="18288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123C5A14-B66C-3CBA-2239-8B8B6761F38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00169" y="4766657"/>
            <a:ext cx="2654365" cy="430811"/>
          </a:xfrm>
          <a:solidFill>
            <a:srgbClr val="007AC3"/>
          </a:solidFill>
        </p:spPr>
        <p:txBody>
          <a:bodyPr vert="horz" lIns="274320" tIns="0" rIns="274320" bIns="0" rtlCol="0" anchor="ctr">
            <a:normAutofit/>
          </a:bodyPr>
          <a:lstStyle>
            <a:lvl1pPr marL="0" indent="0" algn="ctr">
              <a:buFont typeface="+mj-lt"/>
              <a:buNone/>
              <a:defRPr lang="en-US" sz="2200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E9FFEF81-4959-E217-B93A-73F5A4A8868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204516" y="3948789"/>
            <a:ext cx="731763" cy="731763"/>
          </a:xfrm>
          <a:prstGeom prst="ellipse">
            <a:avLst/>
          </a:prstGeom>
          <a:solidFill>
            <a:srgbClr val="6FC055"/>
          </a:solidFill>
          <a:ln w="38100">
            <a:solidFill>
              <a:srgbClr val="6FC055"/>
            </a:solidFill>
          </a:ln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827C0359-2167-479F-7FE8-77370D75AC4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108111" y="3954959"/>
            <a:ext cx="731763" cy="731763"/>
          </a:xfrm>
          <a:prstGeom prst="ellipse">
            <a:avLst/>
          </a:prstGeom>
          <a:solidFill>
            <a:srgbClr val="6FC055"/>
          </a:solidFill>
          <a:ln w="38100">
            <a:solidFill>
              <a:srgbClr val="6FC055"/>
            </a:solidFill>
          </a:ln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AD46B6DA-7E9E-52AF-2C54-E5701DD628C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011705" y="3952719"/>
            <a:ext cx="731763" cy="731763"/>
          </a:xfrm>
          <a:prstGeom prst="ellipse">
            <a:avLst/>
          </a:prstGeom>
          <a:solidFill>
            <a:srgbClr val="6FC055"/>
          </a:solidFill>
          <a:ln w="38100">
            <a:solidFill>
              <a:srgbClr val="6FC055"/>
            </a:solidFill>
          </a:ln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7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41A5ED4C-2A68-0409-E30D-9570BA58D8C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991535" y="5197468"/>
            <a:ext cx="2654365" cy="1022617"/>
          </a:xfrm>
        </p:spPr>
        <p:txBody>
          <a:bodyPr tIns="18288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.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34EE1381-0BDA-44FB-5BE0-0F8FD863551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991535" y="4766657"/>
            <a:ext cx="2654365" cy="430811"/>
          </a:xfrm>
          <a:solidFill>
            <a:srgbClr val="007AC3"/>
          </a:solidFill>
        </p:spPr>
        <p:txBody>
          <a:bodyPr vert="horz" lIns="274320" tIns="0" rIns="274320" bIns="0" rtlCol="0" anchor="ctr">
            <a:normAutofit/>
          </a:bodyPr>
          <a:lstStyle>
            <a:lvl1pPr marL="0" indent="0" algn="ctr">
              <a:buFont typeface="+mj-lt"/>
              <a:buNone/>
              <a:defRPr lang="en-US" sz="2200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/>
              <a:t>Title Goes Here</a:t>
            </a: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5B834FEE-89B5-A9C4-5B31-0A52101A334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898708" y="3952327"/>
            <a:ext cx="731763" cy="731763"/>
          </a:xfrm>
          <a:prstGeom prst="ellipse">
            <a:avLst/>
          </a:prstGeom>
          <a:solidFill>
            <a:srgbClr val="6FC055"/>
          </a:solidFill>
          <a:ln w="38100">
            <a:solidFill>
              <a:srgbClr val="6FC055"/>
            </a:solidFill>
          </a:ln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8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459980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Call Out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9F1E129-918B-4ECF-977F-27CBDC122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06581" y="2530532"/>
            <a:ext cx="4613221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29F74D1-3DF0-46BA-99D9-840D25A68B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06581" y="3427502"/>
            <a:ext cx="4613221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E2B40E7-4B77-4068-B43A-91E439D59E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06581" y="4324472"/>
            <a:ext cx="4613221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CB361DFF-4E10-42ED-B04A-B0E92A41F2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64209" y="2559615"/>
            <a:ext cx="731763" cy="731763"/>
          </a:xfrm>
          <a:prstGeom prst="ellipse">
            <a:avLst/>
          </a:prstGeom>
          <a:solidFill>
            <a:srgbClr val="6FC055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25A1BD48-FEFA-4BF9-A982-932B01039C4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4208" y="3456413"/>
            <a:ext cx="731763" cy="731763"/>
          </a:xfrm>
          <a:prstGeom prst="ellipse">
            <a:avLst/>
          </a:prstGeom>
          <a:solidFill>
            <a:srgbClr val="6FC055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70B52F1D-35BD-4B64-8559-05438119846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62279" y="4353213"/>
            <a:ext cx="731763" cy="731763"/>
          </a:xfrm>
          <a:prstGeom prst="ellipse">
            <a:avLst/>
          </a:prstGeom>
          <a:solidFill>
            <a:srgbClr val="6FC055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897E657B-345E-4E88-A4F1-07A178DDBB5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0182" y="1149338"/>
            <a:ext cx="11514667" cy="1138543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e list layout is a classic means of presenting several key call-out facts.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30972F9-A8AE-4C73-BBCB-6E39C46DDB2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406581" y="5221442"/>
            <a:ext cx="4613221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79AA4E44-E7FD-4679-BF7A-C0AA03FAC1C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62279" y="5250013"/>
            <a:ext cx="731763" cy="731763"/>
          </a:xfrm>
          <a:prstGeom prst="ellipse">
            <a:avLst/>
          </a:prstGeom>
          <a:solidFill>
            <a:srgbClr val="6FC055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8DF9266-A86A-4589-B9A6-957208C867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913608" y="2491395"/>
            <a:ext cx="4613221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910FFA8A-AC48-4AA2-847E-E03779F0BCC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913608" y="3388365"/>
            <a:ext cx="4613221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3F5AFC5D-6DCB-4031-9782-CB13B74FC8A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13608" y="4285335"/>
            <a:ext cx="4613221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4E4EF190-253C-47A1-95CF-3CEB19E8C1D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71238" y="2520477"/>
            <a:ext cx="731763" cy="731763"/>
          </a:xfrm>
          <a:prstGeom prst="ellipse">
            <a:avLst/>
          </a:prstGeom>
          <a:solidFill>
            <a:srgbClr val="6FC055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9BFACAB-4719-44BF-A6D7-3D44429F894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71237" y="3417276"/>
            <a:ext cx="731763" cy="731763"/>
          </a:xfrm>
          <a:prstGeom prst="ellipse">
            <a:avLst/>
          </a:prstGeom>
          <a:solidFill>
            <a:srgbClr val="6FC055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42A77CD-9D2A-4079-A99F-F304ABCC6F6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9308" y="4314075"/>
            <a:ext cx="731763" cy="731763"/>
          </a:xfrm>
          <a:prstGeom prst="ellipse">
            <a:avLst/>
          </a:prstGeom>
          <a:solidFill>
            <a:srgbClr val="6FC055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7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B75EEDBF-7336-48D0-92BD-69C04DD71B9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13608" y="5182305"/>
            <a:ext cx="4613221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A0AC733F-4375-456F-8DBE-48D93CF0BBD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169308" y="5210875"/>
            <a:ext cx="731763" cy="731763"/>
          </a:xfrm>
          <a:prstGeom prst="ellipse">
            <a:avLst/>
          </a:prstGeom>
          <a:solidFill>
            <a:srgbClr val="6FC055"/>
          </a:solidFill>
        </p:spPr>
        <p:txBody>
          <a:bodyPr lIns="0" tIns="0" rIns="0" bIns="0" anchor="ctr">
            <a:noAutofit/>
          </a:bodyPr>
          <a:lstStyle>
            <a:lvl1pPr marL="12701" indent="0" algn="ctr">
              <a:lnSpc>
                <a:spcPct val="100000"/>
              </a:lnSpc>
              <a:spcBef>
                <a:spcPts val="0"/>
              </a:spcBef>
              <a:buNone/>
              <a:defRPr sz="2000" b="0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>
                <a:solidFill>
                  <a:schemeClr val="bg1"/>
                </a:solidFill>
                <a:latin typeface="Oswald" pitchFamily="2" charset="0"/>
              </a:defRPr>
            </a:lvl2pPr>
            <a:lvl3pPr>
              <a:defRPr>
                <a:solidFill>
                  <a:schemeClr val="bg1"/>
                </a:solidFill>
                <a:latin typeface="Oswald" pitchFamily="2" charset="0"/>
              </a:defRPr>
            </a:lvl3pPr>
            <a:lvl4pPr>
              <a:defRPr>
                <a:solidFill>
                  <a:schemeClr val="bg1"/>
                </a:solidFill>
                <a:latin typeface="Oswald" pitchFamily="2" charset="0"/>
              </a:defRPr>
            </a:lvl4pPr>
            <a:lvl5pPr>
              <a:defRPr>
                <a:solidFill>
                  <a:schemeClr val="bg1"/>
                </a:solidFill>
                <a:latin typeface="Oswald" pitchFamily="2" charset="0"/>
              </a:defRPr>
            </a:lvl5pPr>
          </a:lstStyle>
          <a:p>
            <a:pPr lvl="0"/>
            <a:r>
              <a:rPr lang="en-US" dirty="0"/>
              <a:t>8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3417547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Call Out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9F1E129-918B-4ECF-977F-27CBDC1227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06581" y="2522835"/>
            <a:ext cx="4613221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29F74D1-3DF0-46BA-99D9-840D25A68B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06581" y="3419804"/>
            <a:ext cx="4613221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E2B40E7-4B77-4068-B43A-91E439D59E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06581" y="4316775"/>
            <a:ext cx="4613221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897E657B-345E-4E88-A4F1-07A178DDBB5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65171" y="1149338"/>
            <a:ext cx="10861658" cy="1138543"/>
          </a:xfrm>
        </p:spPr>
        <p:txBody>
          <a:bodyPr tIns="18288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e list layout is a classic means of presenting a set of facts to your audience. This particular layout, however, could also be put to work as a menu or summary slide.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30972F9-A8AE-4C73-BBCB-6E39C46DDB2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406581" y="5195963"/>
            <a:ext cx="4613221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8DF9266-A86A-4589-B9A6-957208C867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913608" y="2522330"/>
            <a:ext cx="4613221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910FFA8A-AC48-4AA2-847E-E03779F0BCC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913608" y="3419300"/>
            <a:ext cx="4613221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3F5AFC5D-6DCB-4031-9782-CB13B74FC8A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13608" y="4316270"/>
            <a:ext cx="4613221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B75EEDBF-7336-48D0-92BD-69C04DD71B9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913608" y="5213240"/>
            <a:ext cx="4613221" cy="799471"/>
          </a:xfrm>
        </p:spPr>
        <p:txBody>
          <a:bodyPr tIns="18288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None/>
              <a:defRPr sz="1800"/>
            </a:lvl1pPr>
          </a:lstStyle>
          <a:p>
            <a:pPr lvl="0"/>
            <a:r>
              <a:rPr lang="en-US" dirty="0"/>
              <a:t>This is the area to place your text content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4041D65-0CA6-2D6C-B8A5-D0DC548EFE6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2280" y="2528858"/>
            <a:ext cx="731763" cy="825502"/>
          </a:xfrm>
          <a:prstGeom prst="rect">
            <a:avLst/>
          </a:prstGeom>
          <a:solidFill>
            <a:srgbClr val="007AC3"/>
          </a:solidFill>
          <a:ln>
            <a:noFill/>
          </a:ln>
        </p:spPr>
        <p:txBody>
          <a:bodyPr vert="horz" lIns="182880" tIns="182880" rIns="182880" bIns="182880" rtlCol="0" anchor="ctr">
            <a:noAutofit/>
          </a:bodyPr>
          <a:lstStyle>
            <a:lvl1pPr marL="12701" indent="0" algn="ctr">
              <a:spcAft>
                <a:spcPts val="0"/>
              </a:spcAft>
              <a:buNone/>
              <a:defRPr lang="en-US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buFont typeface="+mj-lt"/>
            </a:pPr>
            <a:r>
              <a:rPr lang="en-US" dirty="0"/>
              <a:t>1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2C0BB850-089D-225C-4AD0-9166659BDCD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2280" y="3415319"/>
            <a:ext cx="731763" cy="825502"/>
          </a:xfrm>
          <a:prstGeom prst="rect">
            <a:avLst/>
          </a:prstGeom>
          <a:solidFill>
            <a:srgbClr val="007AC3"/>
          </a:solidFill>
          <a:ln>
            <a:noFill/>
          </a:ln>
        </p:spPr>
        <p:txBody>
          <a:bodyPr vert="horz" lIns="182880" tIns="182880" rIns="182880" bIns="182880" rtlCol="0" anchor="ctr">
            <a:noAutofit/>
          </a:bodyPr>
          <a:lstStyle>
            <a:lvl1pPr marL="12701" indent="0" algn="ctr">
              <a:spcAft>
                <a:spcPts val="0"/>
              </a:spcAft>
              <a:buNone/>
              <a:defRPr lang="en-US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buFont typeface="+mj-lt"/>
            </a:pPr>
            <a:r>
              <a:rPr lang="en-US" dirty="0"/>
              <a:t>2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871B9027-8B17-E7D8-46A1-3DCD39E2735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62280" y="4301780"/>
            <a:ext cx="731763" cy="825502"/>
          </a:xfrm>
          <a:prstGeom prst="rect">
            <a:avLst/>
          </a:prstGeom>
          <a:solidFill>
            <a:srgbClr val="007AC3"/>
          </a:solidFill>
          <a:ln>
            <a:noFill/>
          </a:ln>
        </p:spPr>
        <p:txBody>
          <a:bodyPr vert="horz" lIns="182880" tIns="182880" rIns="182880" bIns="182880" rtlCol="0" anchor="ctr">
            <a:noAutofit/>
          </a:bodyPr>
          <a:lstStyle>
            <a:lvl1pPr marL="12701" indent="0" algn="ctr">
              <a:spcAft>
                <a:spcPts val="0"/>
              </a:spcAft>
              <a:buNone/>
              <a:defRPr lang="en-US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buFont typeface="+mj-lt"/>
            </a:pPr>
            <a:r>
              <a:rPr lang="en-US" dirty="0"/>
              <a:t>3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82ED3B06-62F1-0FCE-7B74-E390A7ED2EA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62280" y="5188241"/>
            <a:ext cx="731763" cy="825502"/>
          </a:xfrm>
          <a:prstGeom prst="rect">
            <a:avLst/>
          </a:prstGeom>
          <a:solidFill>
            <a:srgbClr val="007AC3"/>
          </a:solidFill>
          <a:ln>
            <a:noFill/>
          </a:ln>
        </p:spPr>
        <p:txBody>
          <a:bodyPr vert="horz" lIns="182880" tIns="182880" rIns="182880" bIns="182880" rtlCol="0" anchor="ctr">
            <a:noAutofit/>
          </a:bodyPr>
          <a:lstStyle>
            <a:lvl1pPr marL="12701" indent="0" algn="ctr">
              <a:spcAft>
                <a:spcPts val="0"/>
              </a:spcAft>
              <a:buNone/>
              <a:defRPr lang="en-US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buFont typeface="+mj-lt"/>
            </a:pPr>
            <a:r>
              <a:rPr lang="en-US" dirty="0"/>
              <a:t>4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52774595-1952-F642-EBD1-615894247C4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172200" y="2528858"/>
            <a:ext cx="731763" cy="825502"/>
          </a:xfrm>
          <a:prstGeom prst="rect">
            <a:avLst/>
          </a:prstGeom>
          <a:solidFill>
            <a:srgbClr val="007AC3"/>
          </a:solidFill>
          <a:ln>
            <a:noFill/>
          </a:ln>
        </p:spPr>
        <p:txBody>
          <a:bodyPr vert="horz" lIns="182880" tIns="182880" rIns="182880" bIns="182880" rtlCol="0" anchor="ctr">
            <a:noAutofit/>
          </a:bodyPr>
          <a:lstStyle>
            <a:lvl1pPr marL="12701" indent="0" algn="ctr">
              <a:spcAft>
                <a:spcPts val="0"/>
              </a:spcAft>
              <a:buNone/>
              <a:defRPr lang="en-US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buFont typeface="+mj-lt"/>
            </a:pPr>
            <a:r>
              <a:rPr lang="en-US" dirty="0"/>
              <a:t>5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E24FBC9D-CEE3-C1A2-3018-5CDB4FEF874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172200" y="3415319"/>
            <a:ext cx="731763" cy="825502"/>
          </a:xfrm>
          <a:prstGeom prst="rect">
            <a:avLst/>
          </a:prstGeom>
          <a:solidFill>
            <a:srgbClr val="007AC3"/>
          </a:solidFill>
          <a:ln>
            <a:noFill/>
          </a:ln>
        </p:spPr>
        <p:txBody>
          <a:bodyPr vert="horz" lIns="182880" tIns="182880" rIns="182880" bIns="182880" rtlCol="0" anchor="ctr">
            <a:noAutofit/>
          </a:bodyPr>
          <a:lstStyle>
            <a:lvl1pPr marL="12701" indent="0" algn="ctr">
              <a:spcAft>
                <a:spcPts val="0"/>
              </a:spcAft>
              <a:buNone/>
              <a:defRPr lang="en-US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buFont typeface="+mj-lt"/>
            </a:pPr>
            <a:r>
              <a:rPr lang="en-US" dirty="0"/>
              <a:t>6</a:t>
            </a: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74283727-CADA-D899-7752-E5F9216FA08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72200" y="4301780"/>
            <a:ext cx="731763" cy="825502"/>
          </a:xfrm>
          <a:prstGeom prst="rect">
            <a:avLst/>
          </a:prstGeom>
          <a:solidFill>
            <a:srgbClr val="007AC3"/>
          </a:solidFill>
          <a:ln>
            <a:noFill/>
          </a:ln>
        </p:spPr>
        <p:txBody>
          <a:bodyPr vert="horz" lIns="182880" tIns="182880" rIns="182880" bIns="182880" rtlCol="0" anchor="ctr">
            <a:noAutofit/>
          </a:bodyPr>
          <a:lstStyle>
            <a:lvl1pPr marL="12701" indent="0" algn="ctr">
              <a:spcAft>
                <a:spcPts val="0"/>
              </a:spcAft>
              <a:buNone/>
              <a:defRPr lang="en-US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buFont typeface="+mj-lt"/>
            </a:pPr>
            <a:r>
              <a:rPr lang="en-US" dirty="0"/>
              <a:t>7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00A2F5F1-D45E-C0CB-6831-3F7DD04FD11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172200" y="5188241"/>
            <a:ext cx="731763" cy="825502"/>
          </a:xfrm>
          <a:prstGeom prst="rect">
            <a:avLst/>
          </a:prstGeom>
          <a:solidFill>
            <a:srgbClr val="007AC3"/>
          </a:solidFill>
          <a:ln>
            <a:noFill/>
          </a:ln>
        </p:spPr>
        <p:txBody>
          <a:bodyPr vert="horz" lIns="182880" tIns="182880" rIns="182880" bIns="182880" rtlCol="0" anchor="ctr">
            <a:noAutofit/>
          </a:bodyPr>
          <a:lstStyle>
            <a:lvl1pPr marL="12701" indent="0" algn="ctr">
              <a:spcAft>
                <a:spcPts val="0"/>
              </a:spcAft>
              <a:buNone/>
              <a:defRPr lang="en-US" b="0" i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buFont typeface="+mj-lt"/>
            </a:pPr>
            <a:r>
              <a:rPr lang="en-US" dirty="0"/>
              <a:t>8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109566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Option 2 (Speaker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DD8FA0-DE88-4994-B585-DBD5057F88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7239000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ED86EAC-13FF-45DC-AEEC-3935BC64775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437555" y="2402512"/>
            <a:ext cx="1025563" cy="1014902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 algn="ctr">
              <a:defRPr sz="889"/>
            </a:lvl1pPr>
          </a:lstStyle>
          <a:p>
            <a:endParaRPr lang="en-US" dirty="0"/>
          </a:p>
        </p:txBody>
      </p:sp>
      <p:sp>
        <p:nvSpPr>
          <p:cNvPr id="51" name="Picture Placeholder 2">
            <a:extLst>
              <a:ext uri="{FF2B5EF4-FFF2-40B4-BE49-F238E27FC236}">
                <a16:creationId xmlns:a16="http://schemas.microsoft.com/office/drawing/2014/main" id="{62B3E25B-7BE9-B266-957F-2F9CC15FFFF5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429441" y="2402512"/>
            <a:ext cx="1025563" cy="1014902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 algn="ctr">
              <a:defRPr sz="889"/>
            </a:lvl1pPr>
          </a:lstStyle>
          <a:p>
            <a:endParaRPr lang="en-US" dirty="0"/>
          </a:p>
        </p:txBody>
      </p:sp>
      <p:sp>
        <p:nvSpPr>
          <p:cNvPr id="52" name="Picture Placeholder 2">
            <a:extLst>
              <a:ext uri="{FF2B5EF4-FFF2-40B4-BE49-F238E27FC236}">
                <a16:creationId xmlns:a16="http://schemas.microsoft.com/office/drawing/2014/main" id="{EDCD85E4-DFD0-C9A2-2C53-BB8BEDE9038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0421324" y="2402512"/>
            <a:ext cx="1025563" cy="1014902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 algn="ctr">
              <a:defRPr sz="889"/>
            </a:lvl1pPr>
          </a:lstStyle>
          <a:p>
            <a:endParaRPr lang="en-US" dirty="0"/>
          </a:p>
        </p:txBody>
      </p:sp>
      <p:sp>
        <p:nvSpPr>
          <p:cNvPr id="53" name="Picture Placeholder 2">
            <a:extLst>
              <a:ext uri="{FF2B5EF4-FFF2-40B4-BE49-F238E27FC236}">
                <a16:creationId xmlns:a16="http://schemas.microsoft.com/office/drawing/2014/main" id="{922EAFA8-7B6E-62F1-33E1-75344A3E3570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437555" y="4010491"/>
            <a:ext cx="1025563" cy="1014902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 algn="ctr">
              <a:defRPr sz="889"/>
            </a:lvl1pPr>
          </a:lstStyle>
          <a:p>
            <a:endParaRPr lang="en-US" dirty="0"/>
          </a:p>
        </p:txBody>
      </p:sp>
      <p:sp>
        <p:nvSpPr>
          <p:cNvPr id="54" name="Picture Placeholder 2">
            <a:extLst>
              <a:ext uri="{FF2B5EF4-FFF2-40B4-BE49-F238E27FC236}">
                <a16:creationId xmlns:a16="http://schemas.microsoft.com/office/drawing/2014/main" id="{A93861BC-12FB-96E2-B4B7-9C60334DEC16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429441" y="4017047"/>
            <a:ext cx="1025563" cy="1014902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 algn="ctr">
              <a:defRPr sz="889"/>
            </a:lvl1pPr>
          </a:lstStyle>
          <a:p>
            <a:endParaRPr lang="en-US" dirty="0"/>
          </a:p>
        </p:txBody>
      </p:sp>
      <p:sp>
        <p:nvSpPr>
          <p:cNvPr id="55" name="Picture Placeholder 2">
            <a:extLst>
              <a:ext uri="{FF2B5EF4-FFF2-40B4-BE49-F238E27FC236}">
                <a16:creationId xmlns:a16="http://schemas.microsoft.com/office/drawing/2014/main" id="{590F6E48-1A88-CE28-8361-C69203E8E690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10421324" y="4015272"/>
            <a:ext cx="1025563" cy="1014902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 algn="ctr">
              <a:defRPr sz="889"/>
            </a:lvl1pPr>
          </a:lstStyle>
          <a:p>
            <a:endParaRPr lang="en-US" dirty="0"/>
          </a:p>
        </p:txBody>
      </p:sp>
      <p:sp>
        <p:nvSpPr>
          <p:cNvPr id="56" name="Text Placeholder 7">
            <a:extLst>
              <a:ext uri="{FF2B5EF4-FFF2-40B4-BE49-F238E27FC236}">
                <a16:creationId xmlns:a16="http://schemas.microsoft.com/office/drawing/2014/main" id="{0A9A705F-E033-3D43-33A8-9D010F1ACBE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92732" y="5052578"/>
            <a:ext cx="1119073" cy="296191"/>
          </a:xfrm>
          <a:prstGeom prst="rect">
            <a:avLst/>
          </a:prstGeom>
          <a:noFill/>
        </p:spPr>
        <p:txBody>
          <a:bodyPr vert="horz" lIns="182880" tIns="0" rIns="182880" bIns="0" rtlCol="0" anchor="ctr">
            <a:normAutofit/>
          </a:bodyPr>
          <a:lstStyle>
            <a:lvl1pPr marL="0" algn="ctr">
              <a:defRPr lang="en-US" sz="1111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Name</a:t>
            </a:r>
          </a:p>
        </p:txBody>
      </p:sp>
      <p:sp>
        <p:nvSpPr>
          <p:cNvPr id="64" name="Text Placeholder 7">
            <a:extLst>
              <a:ext uri="{FF2B5EF4-FFF2-40B4-BE49-F238E27FC236}">
                <a16:creationId xmlns:a16="http://schemas.microsoft.com/office/drawing/2014/main" id="{72B38762-6E01-F9ED-275E-C87293BD2FA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82938" y="1747807"/>
            <a:ext cx="4796929" cy="476072"/>
          </a:xfrm>
          <a:prstGeom prst="rect">
            <a:avLst/>
          </a:prstGeom>
          <a:solidFill>
            <a:srgbClr val="007AC3"/>
          </a:solidFill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bg1"/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Speakers</a:t>
            </a:r>
          </a:p>
        </p:txBody>
      </p:sp>
      <p:sp>
        <p:nvSpPr>
          <p:cNvPr id="66" name="Text Placeholder 7">
            <a:extLst>
              <a:ext uri="{FF2B5EF4-FFF2-40B4-BE49-F238E27FC236}">
                <a16:creationId xmlns:a16="http://schemas.microsoft.com/office/drawing/2014/main" id="{B6F04DB5-FF27-D373-2053-A9293E55199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384617" y="5049363"/>
            <a:ext cx="1119073" cy="296191"/>
          </a:xfrm>
          <a:prstGeom prst="rect">
            <a:avLst/>
          </a:prstGeom>
          <a:noFill/>
        </p:spPr>
        <p:txBody>
          <a:bodyPr vert="horz" lIns="182880" tIns="0" rIns="182880" bIns="0" rtlCol="0" anchor="ctr">
            <a:normAutofit/>
          </a:bodyPr>
          <a:lstStyle>
            <a:lvl1pPr marL="0" algn="ctr">
              <a:defRPr lang="en-US" sz="1111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Name</a:t>
            </a:r>
          </a:p>
        </p:txBody>
      </p:sp>
      <p:sp>
        <p:nvSpPr>
          <p:cNvPr id="67" name="Text Placeholder 7">
            <a:extLst>
              <a:ext uri="{FF2B5EF4-FFF2-40B4-BE49-F238E27FC236}">
                <a16:creationId xmlns:a16="http://schemas.microsoft.com/office/drawing/2014/main" id="{1D3EC132-3E1B-3EFE-8A46-434736C513A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0423480" y="5049362"/>
            <a:ext cx="1119073" cy="296191"/>
          </a:xfrm>
          <a:prstGeom prst="rect">
            <a:avLst/>
          </a:prstGeom>
          <a:noFill/>
        </p:spPr>
        <p:txBody>
          <a:bodyPr vert="horz" lIns="182880" tIns="0" rIns="182880" bIns="0" rtlCol="0" anchor="ctr">
            <a:normAutofit/>
          </a:bodyPr>
          <a:lstStyle>
            <a:lvl1pPr marL="0" algn="ctr">
              <a:defRPr lang="en-US" sz="1111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Name</a:t>
            </a:r>
          </a:p>
        </p:txBody>
      </p:sp>
      <p:sp>
        <p:nvSpPr>
          <p:cNvPr id="68" name="Text Placeholder 7">
            <a:extLst>
              <a:ext uri="{FF2B5EF4-FFF2-40B4-BE49-F238E27FC236}">
                <a16:creationId xmlns:a16="http://schemas.microsoft.com/office/drawing/2014/main" id="{AD62AEA9-3B19-4BCE-877A-2B74984E22C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392732" y="3452243"/>
            <a:ext cx="1119073" cy="296191"/>
          </a:xfrm>
          <a:prstGeom prst="rect">
            <a:avLst/>
          </a:prstGeom>
          <a:noFill/>
        </p:spPr>
        <p:txBody>
          <a:bodyPr vert="horz" lIns="182880" tIns="0" rIns="182880" bIns="0" rtlCol="0" anchor="ctr">
            <a:normAutofit/>
          </a:bodyPr>
          <a:lstStyle>
            <a:lvl1pPr marL="0" algn="ctr">
              <a:defRPr lang="en-US" sz="1111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Name</a:t>
            </a:r>
          </a:p>
        </p:txBody>
      </p:sp>
      <p:sp>
        <p:nvSpPr>
          <p:cNvPr id="69" name="Text Placeholder 7">
            <a:extLst>
              <a:ext uri="{FF2B5EF4-FFF2-40B4-BE49-F238E27FC236}">
                <a16:creationId xmlns:a16="http://schemas.microsoft.com/office/drawing/2014/main" id="{B1C5D9F2-49BD-E8CA-F5BD-C6E505FAC95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384616" y="3453436"/>
            <a:ext cx="1119073" cy="296191"/>
          </a:xfrm>
          <a:prstGeom prst="rect">
            <a:avLst/>
          </a:prstGeom>
          <a:noFill/>
        </p:spPr>
        <p:txBody>
          <a:bodyPr vert="horz" lIns="182880" tIns="0" rIns="182880" bIns="0" rtlCol="0" anchor="ctr">
            <a:normAutofit/>
          </a:bodyPr>
          <a:lstStyle>
            <a:lvl1pPr marL="0" algn="ctr">
              <a:defRPr lang="en-US" sz="1111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Name</a:t>
            </a:r>
          </a:p>
        </p:txBody>
      </p:sp>
      <p:sp>
        <p:nvSpPr>
          <p:cNvPr id="70" name="Text Placeholder 7">
            <a:extLst>
              <a:ext uri="{FF2B5EF4-FFF2-40B4-BE49-F238E27FC236}">
                <a16:creationId xmlns:a16="http://schemas.microsoft.com/office/drawing/2014/main" id="{F5CE395A-0C84-9591-6A25-88FF95FE5E3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0423479" y="3455325"/>
            <a:ext cx="1119073" cy="296191"/>
          </a:xfrm>
          <a:prstGeom prst="rect">
            <a:avLst/>
          </a:prstGeom>
          <a:noFill/>
        </p:spPr>
        <p:txBody>
          <a:bodyPr vert="horz" lIns="182880" tIns="0" rIns="182880" bIns="0" rtlCol="0" anchor="ctr">
            <a:normAutofit/>
          </a:bodyPr>
          <a:lstStyle>
            <a:lvl1pPr marL="0" algn="ctr">
              <a:defRPr lang="en-US" sz="1111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Name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74175CA3-5126-81B3-27D9-9B252DCB9E5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401735" y="1748244"/>
            <a:ext cx="81203" cy="475636"/>
          </a:xfrm>
          <a:solidFill>
            <a:srgbClr val="6FC055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 </a:t>
            </a:r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3FDC8332-9AFD-6E5B-E725-FAF71A0621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45788" y="4809141"/>
            <a:ext cx="5204440" cy="476072"/>
          </a:xfrm>
          <a:prstGeom prst="rect">
            <a:avLst/>
          </a:prstGeom>
          <a:solidFill>
            <a:srgbClr val="007AC3"/>
          </a:solidFill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bg1"/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Agenda Item</a:t>
            </a:r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0146ECB7-1A1E-8476-DCA8-38C7AE2BBB4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5788" y="5316551"/>
            <a:ext cx="5204440" cy="476072"/>
          </a:xfrm>
          <a:prstGeom prst="rect">
            <a:avLst/>
          </a:prstGeom>
          <a:solidFill>
            <a:srgbClr val="007AC3"/>
          </a:solidFill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bg1"/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Agenda Item</a:t>
            </a:r>
          </a:p>
        </p:txBody>
      </p:sp>
      <p:sp>
        <p:nvSpPr>
          <p:cNvPr id="48" name="Text Placeholder 7">
            <a:extLst>
              <a:ext uri="{FF2B5EF4-FFF2-40B4-BE49-F238E27FC236}">
                <a16:creationId xmlns:a16="http://schemas.microsoft.com/office/drawing/2014/main" id="{6ED862FA-6A3B-C0CD-6748-BC2C5767B19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70199" y="5319036"/>
            <a:ext cx="79807" cy="473587"/>
          </a:xfrm>
          <a:solidFill>
            <a:srgbClr val="6FC055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 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7F5ACD30-DBCE-6168-6B8E-5119D4A5B12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019" y="4808635"/>
            <a:ext cx="81203" cy="475636"/>
          </a:xfrm>
          <a:solidFill>
            <a:srgbClr val="6FC055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 </a:t>
            </a:r>
          </a:p>
        </p:txBody>
      </p:sp>
      <p:sp>
        <p:nvSpPr>
          <p:cNvPr id="50" name="Text Placeholder 7">
            <a:extLst>
              <a:ext uri="{FF2B5EF4-FFF2-40B4-BE49-F238E27FC236}">
                <a16:creationId xmlns:a16="http://schemas.microsoft.com/office/drawing/2014/main" id="{CB5F5BB4-EDE3-DC02-7E04-A1E2DF4121B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45788" y="3790389"/>
            <a:ext cx="5204440" cy="476072"/>
          </a:xfrm>
          <a:prstGeom prst="rect">
            <a:avLst/>
          </a:prstGeom>
          <a:solidFill>
            <a:srgbClr val="007AC3"/>
          </a:solidFill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bg1"/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Agenda Item</a:t>
            </a:r>
          </a:p>
        </p:txBody>
      </p:sp>
      <p:sp>
        <p:nvSpPr>
          <p:cNvPr id="57" name="Text Placeholder 7">
            <a:extLst>
              <a:ext uri="{FF2B5EF4-FFF2-40B4-BE49-F238E27FC236}">
                <a16:creationId xmlns:a16="http://schemas.microsoft.com/office/drawing/2014/main" id="{934168A6-F67B-6489-8508-42D19028836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45788" y="4297798"/>
            <a:ext cx="5204440" cy="476072"/>
          </a:xfrm>
          <a:prstGeom prst="rect">
            <a:avLst/>
          </a:prstGeom>
          <a:solidFill>
            <a:srgbClr val="007AC3"/>
          </a:solidFill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bg1"/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Agenda Item</a:t>
            </a:r>
          </a:p>
        </p:txBody>
      </p:sp>
      <p:sp>
        <p:nvSpPr>
          <p:cNvPr id="58" name="Text Placeholder 7">
            <a:extLst>
              <a:ext uri="{FF2B5EF4-FFF2-40B4-BE49-F238E27FC236}">
                <a16:creationId xmlns:a16="http://schemas.microsoft.com/office/drawing/2014/main" id="{948110F2-B1AB-920A-3122-D111DC41E0C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70199" y="4300284"/>
            <a:ext cx="79807" cy="473587"/>
          </a:xfrm>
          <a:solidFill>
            <a:srgbClr val="6FC055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 </a:t>
            </a:r>
          </a:p>
        </p:txBody>
      </p:sp>
      <p:sp>
        <p:nvSpPr>
          <p:cNvPr id="59" name="Text Placeholder 7">
            <a:extLst>
              <a:ext uri="{FF2B5EF4-FFF2-40B4-BE49-F238E27FC236}">
                <a16:creationId xmlns:a16="http://schemas.microsoft.com/office/drawing/2014/main" id="{C310FDB7-62B2-AA7D-8D2A-5ADF75C8D26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72019" y="3789883"/>
            <a:ext cx="81203" cy="475636"/>
          </a:xfrm>
          <a:solidFill>
            <a:srgbClr val="6FC055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 </a:t>
            </a:r>
          </a:p>
        </p:txBody>
      </p:sp>
      <p:sp>
        <p:nvSpPr>
          <p:cNvPr id="60" name="Text Placeholder 7">
            <a:extLst>
              <a:ext uri="{FF2B5EF4-FFF2-40B4-BE49-F238E27FC236}">
                <a16:creationId xmlns:a16="http://schemas.microsoft.com/office/drawing/2014/main" id="{5227E65A-88AB-E4D1-AD70-BDD2B159D91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550006" y="2766560"/>
            <a:ext cx="5204440" cy="476072"/>
          </a:xfrm>
          <a:prstGeom prst="rect">
            <a:avLst/>
          </a:prstGeom>
          <a:solidFill>
            <a:srgbClr val="007AC3"/>
          </a:solidFill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bg1"/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Agenda Item</a:t>
            </a:r>
          </a:p>
        </p:txBody>
      </p:sp>
      <p:sp>
        <p:nvSpPr>
          <p:cNvPr id="61" name="Text Placeholder 7">
            <a:extLst>
              <a:ext uri="{FF2B5EF4-FFF2-40B4-BE49-F238E27FC236}">
                <a16:creationId xmlns:a16="http://schemas.microsoft.com/office/drawing/2014/main" id="{07BE4A4B-CED0-08F7-78B7-626FC5BE2E0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50006" y="3273969"/>
            <a:ext cx="5204440" cy="476072"/>
          </a:xfrm>
          <a:prstGeom prst="rect">
            <a:avLst/>
          </a:prstGeom>
          <a:solidFill>
            <a:srgbClr val="007AC3"/>
          </a:solidFill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bg1"/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Agenda Item</a:t>
            </a:r>
          </a:p>
        </p:txBody>
      </p:sp>
      <p:sp>
        <p:nvSpPr>
          <p:cNvPr id="62" name="Text Placeholder 7">
            <a:extLst>
              <a:ext uri="{FF2B5EF4-FFF2-40B4-BE49-F238E27FC236}">
                <a16:creationId xmlns:a16="http://schemas.microsoft.com/office/drawing/2014/main" id="{26CADE56-78A3-DE3A-A750-0C88233B8E0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74417" y="3276454"/>
            <a:ext cx="79807" cy="473587"/>
          </a:xfrm>
          <a:solidFill>
            <a:srgbClr val="6FC055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 </a:t>
            </a:r>
          </a:p>
        </p:txBody>
      </p:sp>
      <p:sp>
        <p:nvSpPr>
          <p:cNvPr id="63" name="Text Placeholder 7">
            <a:extLst>
              <a:ext uri="{FF2B5EF4-FFF2-40B4-BE49-F238E27FC236}">
                <a16:creationId xmlns:a16="http://schemas.microsoft.com/office/drawing/2014/main" id="{F2FB5DD9-5074-CFB7-1920-AACE6B68772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76237" y="2766054"/>
            <a:ext cx="81203" cy="475636"/>
          </a:xfrm>
          <a:solidFill>
            <a:srgbClr val="6FC055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 </a:t>
            </a:r>
          </a:p>
        </p:txBody>
      </p:sp>
      <p:sp>
        <p:nvSpPr>
          <p:cNvPr id="65" name="Text Placeholder 7">
            <a:extLst>
              <a:ext uri="{FF2B5EF4-FFF2-40B4-BE49-F238E27FC236}">
                <a16:creationId xmlns:a16="http://schemas.microsoft.com/office/drawing/2014/main" id="{B543FE71-4377-3BEA-3F83-6A2525A9C522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50006" y="1747807"/>
            <a:ext cx="5204440" cy="476072"/>
          </a:xfrm>
          <a:prstGeom prst="rect">
            <a:avLst/>
          </a:prstGeom>
          <a:solidFill>
            <a:srgbClr val="007AC3"/>
          </a:solidFill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bg1"/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Agenda Item</a:t>
            </a:r>
          </a:p>
        </p:txBody>
      </p:sp>
      <p:sp>
        <p:nvSpPr>
          <p:cNvPr id="71" name="Text Placeholder 7">
            <a:extLst>
              <a:ext uri="{FF2B5EF4-FFF2-40B4-BE49-F238E27FC236}">
                <a16:creationId xmlns:a16="http://schemas.microsoft.com/office/drawing/2014/main" id="{4D94B4D2-4C2D-C9BE-E7AF-9F560D31F02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50006" y="2255217"/>
            <a:ext cx="5204440" cy="476072"/>
          </a:xfrm>
          <a:prstGeom prst="rect">
            <a:avLst/>
          </a:prstGeom>
          <a:solidFill>
            <a:srgbClr val="007AC3"/>
          </a:solidFill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bg1"/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Agenda Item</a:t>
            </a:r>
          </a:p>
        </p:txBody>
      </p:sp>
      <p:sp>
        <p:nvSpPr>
          <p:cNvPr id="72" name="Text Placeholder 7">
            <a:extLst>
              <a:ext uri="{FF2B5EF4-FFF2-40B4-BE49-F238E27FC236}">
                <a16:creationId xmlns:a16="http://schemas.microsoft.com/office/drawing/2014/main" id="{79380BDF-62B1-7500-9AFC-D8E9C674AA8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74417" y="2257702"/>
            <a:ext cx="79807" cy="473587"/>
          </a:xfrm>
          <a:solidFill>
            <a:srgbClr val="6FC055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 </a:t>
            </a:r>
          </a:p>
        </p:txBody>
      </p:sp>
      <p:sp>
        <p:nvSpPr>
          <p:cNvPr id="73" name="Text Placeholder 7">
            <a:extLst>
              <a:ext uri="{FF2B5EF4-FFF2-40B4-BE49-F238E27FC236}">
                <a16:creationId xmlns:a16="http://schemas.microsoft.com/office/drawing/2014/main" id="{24E1D555-98EE-3D26-F578-FF90B2BACE8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76237" y="1747301"/>
            <a:ext cx="81203" cy="475636"/>
          </a:xfrm>
          <a:solidFill>
            <a:srgbClr val="6FC055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260972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- Option 2 (Speaker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DD8FA0-DE88-4994-B585-DBD5057F88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1759259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7309B645-F96F-4899-DCF7-78680C3921F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45788" y="4543904"/>
            <a:ext cx="7615066" cy="476072"/>
          </a:xfrm>
          <a:prstGeom prst="rect">
            <a:avLst/>
          </a:prstGeom>
          <a:solidFill>
            <a:srgbClr val="007AC3"/>
          </a:solidFill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bg1"/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Agenda Item</a:t>
            </a: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3CE88AC3-987D-3CF1-7DDF-0695456AADF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9523" y="5051313"/>
            <a:ext cx="7615066" cy="476072"/>
          </a:xfrm>
          <a:prstGeom prst="rect">
            <a:avLst/>
          </a:prstGeom>
          <a:solidFill>
            <a:srgbClr val="007AC3"/>
          </a:solidFill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bg1"/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Agenda Item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1ED75A5B-EC40-990E-3DA5-B3B97694F32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73934" y="5053799"/>
            <a:ext cx="79807" cy="473587"/>
          </a:xfrm>
          <a:solidFill>
            <a:srgbClr val="6FC055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 </a:t>
            </a:r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2CCB0436-3486-6A05-BD53-B6404BD107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019" y="4543398"/>
            <a:ext cx="81203" cy="475636"/>
          </a:xfrm>
          <a:solidFill>
            <a:srgbClr val="6FC055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 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1384AD79-BAD5-E73B-1131-D7BE6F3AFCD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45788" y="3528887"/>
            <a:ext cx="7615066" cy="476072"/>
          </a:xfrm>
          <a:prstGeom prst="rect">
            <a:avLst/>
          </a:prstGeom>
          <a:solidFill>
            <a:srgbClr val="007AC3"/>
          </a:solidFill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bg1"/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Agenda Item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026278EB-691C-A3B3-2A47-C50C9DE14CD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49523" y="4032561"/>
            <a:ext cx="7615066" cy="476072"/>
          </a:xfrm>
          <a:prstGeom prst="rect">
            <a:avLst/>
          </a:prstGeom>
          <a:solidFill>
            <a:srgbClr val="007AC3"/>
          </a:solidFill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bg1"/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Agenda Item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CCE011DE-5A0A-1DCF-F954-0BF6F395124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73934" y="4035047"/>
            <a:ext cx="79807" cy="473587"/>
          </a:xfrm>
          <a:solidFill>
            <a:srgbClr val="6FC055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 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D172FBD8-ACCD-93C8-BD0E-98E266AF0D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72019" y="3528381"/>
            <a:ext cx="81203" cy="475636"/>
          </a:xfrm>
          <a:solidFill>
            <a:srgbClr val="6FC055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 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0B2079E1-F935-0A23-23E8-78E197C6DCC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50006" y="2516265"/>
            <a:ext cx="7615066" cy="476072"/>
          </a:xfrm>
          <a:prstGeom prst="rect">
            <a:avLst/>
          </a:prstGeom>
          <a:solidFill>
            <a:srgbClr val="007AC3"/>
          </a:solidFill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bg1"/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Agenda Item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568097B3-2FE8-885C-2F8D-36522A055E7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50006" y="3023674"/>
            <a:ext cx="7615066" cy="476072"/>
          </a:xfrm>
          <a:prstGeom prst="rect">
            <a:avLst/>
          </a:prstGeom>
          <a:solidFill>
            <a:srgbClr val="007AC3"/>
          </a:solidFill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bg1"/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Agenda Item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13D4646D-44EF-B957-4CAD-E54DB9479F6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74417" y="3026159"/>
            <a:ext cx="79807" cy="473587"/>
          </a:xfrm>
          <a:solidFill>
            <a:srgbClr val="6FC055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 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8AF68BBA-647E-1C3D-3E0C-F853D517A17B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76237" y="2515759"/>
            <a:ext cx="81203" cy="475636"/>
          </a:xfrm>
          <a:solidFill>
            <a:srgbClr val="6FC055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 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7F91AD3A-E0F6-0C5A-2955-DFC6E03C945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0006" y="1501248"/>
            <a:ext cx="7615066" cy="476072"/>
          </a:xfrm>
          <a:prstGeom prst="rect">
            <a:avLst/>
          </a:prstGeom>
          <a:solidFill>
            <a:srgbClr val="007AC3"/>
          </a:solidFill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bg1"/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Agenda Item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905CB96F-D55F-375A-ACAE-9E8AB95DBE5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50006" y="2008657"/>
            <a:ext cx="7615066" cy="476072"/>
          </a:xfrm>
          <a:prstGeom prst="rect">
            <a:avLst/>
          </a:prstGeom>
          <a:solidFill>
            <a:srgbClr val="007AC3"/>
          </a:solidFill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bg1"/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Agenda Item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911171C7-490C-6723-922B-2ADCC3D438C3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74417" y="2011143"/>
            <a:ext cx="79807" cy="473587"/>
          </a:xfrm>
          <a:solidFill>
            <a:srgbClr val="6FC055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 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9181F8B3-762F-6D3A-2317-7EC67F4FD05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76237" y="1500742"/>
            <a:ext cx="81203" cy="475636"/>
          </a:xfrm>
          <a:solidFill>
            <a:srgbClr val="6FC055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72532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37F05-4ACB-4FBF-A330-B8F1B6E942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3201474-4CA0-52B7-CA61-39A65971ED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91209" y="1747846"/>
            <a:ext cx="6659454" cy="476072"/>
          </a:xfrm>
          <a:prstGeom prst="rect">
            <a:avLst/>
          </a:prstGeom>
          <a:noFill/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Agenda Item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E2FBE699-13E3-1EBC-6CD2-299820D5BA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1209" y="2351935"/>
            <a:ext cx="6654085" cy="476072"/>
          </a:xfrm>
          <a:prstGeom prst="rect">
            <a:avLst/>
          </a:prstGeom>
          <a:noFill/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/>
              <a:t>Agenda Item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914AF1F-E113-0ABF-7931-FF2F75192D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6990" y="2956023"/>
            <a:ext cx="6659453" cy="476072"/>
          </a:xfrm>
          <a:prstGeom prst="rect">
            <a:avLst/>
          </a:prstGeom>
          <a:noFill/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/>
              <a:t>Agenda Item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967EF1E6-6606-901C-A67D-EDEAF60A8BB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91209" y="3553922"/>
            <a:ext cx="6654085" cy="476072"/>
          </a:xfrm>
          <a:prstGeom prst="rect">
            <a:avLst/>
          </a:prstGeom>
          <a:noFill/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/>
              <a:t>Agenda Item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898A4115-3BF8-357F-CDC3-AAF01964EE9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1209" y="4150510"/>
            <a:ext cx="6654085" cy="476072"/>
          </a:xfrm>
          <a:prstGeom prst="rect">
            <a:avLst/>
          </a:prstGeom>
          <a:noFill/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Agenda Item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80312FB0-0528-E8EE-B96B-B5EA44B1F8E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1209" y="4746661"/>
            <a:ext cx="6654085" cy="476072"/>
          </a:xfrm>
          <a:prstGeom prst="rect">
            <a:avLst/>
          </a:prstGeom>
          <a:noFill/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Agenda Item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A6FEC21E-83B0-4948-8C4F-BA3B2F4299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91209" y="5342811"/>
            <a:ext cx="6654085" cy="476072"/>
          </a:xfrm>
          <a:prstGeom prst="rect">
            <a:avLst/>
          </a:prstGeom>
          <a:noFill/>
        </p:spPr>
        <p:txBody>
          <a:bodyPr vert="horz" lIns="182880" tIns="0" rIns="182880" bIns="0" rtlCol="0" anchor="ctr">
            <a:normAutofit/>
          </a:bodyPr>
          <a:lstStyle>
            <a:lvl1pPr marL="0">
              <a:def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Roboto Black" panose="02000000000000000000" pitchFamily="2" charset="0"/>
                <a:cs typeface="Roboto Black" panose="02000000000000000000" pitchFamily="2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buFont typeface="+mj-lt"/>
            </a:pPr>
            <a:r>
              <a:rPr lang="en-US" dirty="0"/>
              <a:t>Agenda Item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FEB5025E-5CE1-0BFD-1E79-66D372E65F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3773" y="4150509"/>
            <a:ext cx="477992" cy="475636"/>
          </a:xfrm>
          <a:solidFill>
            <a:srgbClr val="007AC3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5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48EED932-5735-407A-CA27-9E0DCEAD094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13773" y="3553484"/>
            <a:ext cx="477992" cy="475636"/>
          </a:xfrm>
          <a:solidFill>
            <a:srgbClr val="007AC3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4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847614C5-BD52-79B3-ABEB-32297641E35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13771" y="2956021"/>
            <a:ext cx="477992" cy="475636"/>
          </a:xfrm>
          <a:solidFill>
            <a:srgbClr val="007AC3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3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687F3767-14AD-F2D3-B6AC-D5013EF5B7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13771" y="2355024"/>
            <a:ext cx="477992" cy="475636"/>
          </a:xfrm>
          <a:solidFill>
            <a:srgbClr val="007AC3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2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E8DC44D8-8259-C4D8-45E5-5AB777748C8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15167" y="5343246"/>
            <a:ext cx="477992" cy="475636"/>
          </a:xfrm>
          <a:solidFill>
            <a:srgbClr val="007AC3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7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0CC0E895-4242-8B5A-CA53-635C8B6B4EC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15167" y="4747097"/>
            <a:ext cx="477992" cy="475636"/>
          </a:xfrm>
          <a:solidFill>
            <a:srgbClr val="007AC3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6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B2C68065-8A6A-212F-4EB3-996154711F6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13771" y="1746840"/>
            <a:ext cx="477992" cy="475636"/>
          </a:xfrm>
          <a:solidFill>
            <a:srgbClr val="007AC3"/>
          </a:solidFill>
          <a:ln>
            <a:noFill/>
          </a:ln>
          <a:effectLst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>
              <a:defRPr lang="en-US" sz="2000" b="0" i="0" spc="-200" baseline="0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 algn="ctr"/>
            <a:r>
              <a:rPr lang="en-US" dirty="0"/>
              <a:t>1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503327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ed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8FD940-F42D-CAC3-B067-9E8F149342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B50A1A-59CB-CAED-A52A-23D1E5DE98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2919" y="1179321"/>
            <a:ext cx="11493377" cy="2687124"/>
          </a:xfrm>
          <a:prstGeom prst="rect">
            <a:avLst/>
          </a:prstGeom>
        </p:spPr>
        <p:txBody>
          <a:bodyPr vert="horz" lIns="274320" tIns="274320" rIns="274320" bIns="2743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809178F-84AE-E055-8590-2FB02A0165B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0" y="4487334"/>
            <a:ext cx="12192000" cy="2370667"/>
          </a:xfrm>
          <a:solidFill>
            <a:srgbClr val="007AC3"/>
          </a:solidFill>
        </p:spPr>
        <p:txBody>
          <a:bodyPr tIns="0" bIns="0" anchor="ctr"/>
          <a:lstStyle>
            <a:lvl1pPr marL="12701" indent="0" algn="ctr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1508F881-765D-4D27-2BCB-DD22739D672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0" y="4341820"/>
            <a:ext cx="12192000" cy="291028"/>
          </a:xfrm>
          <a:solidFill>
            <a:srgbClr val="6FC055"/>
          </a:solidFill>
        </p:spPr>
        <p:txBody>
          <a:bodyPr tIns="0" bIns="0" anchor="ctr"/>
          <a:lstStyle>
            <a:lvl1pPr marL="12701" indent="0" algn="ctr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  <a:latin typeface="Oswald" pitchFamily="2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724761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CC8F347-128E-B23F-4C6B-B0C8965B94A5}"/>
              </a:ext>
            </a:extLst>
          </p:cNvPr>
          <p:cNvSpPr/>
          <p:nvPr userDrawn="1"/>
        </p:nvSpPr>
        <p:spPr>
          <a:xfrm>
            <a:off x="0" y="1673903"/>
            <a:ext cx="12192000" cy="3489377"/>
          </a:xfrm>
          <a:prstGeom prst="rect">
            <a:avLst/>
          </a:prstGeom>
          <a:solidFill>
            <a:srgbClr val="40404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4" name="Right Triangle 3">
            <a:extLst>
              <a:ext uri="{FF2B5EF4-FFF2-40B4-BE49-F238E27FC236}">
                <a16:creationId xmlns:a16="http://schemas.microsoft.com/office/drawing/2014/main" id="{7B0DE458-CAD6-2324-1391-81AFEF8B72D0}"/>
              </a:ext>
            </a:extLst>
          </p:cNvPr>
          <p:cNvSpPr/>
          <p:nvPr userDrawn="1"/>
        </p:nvSpPr>
        <p:spPr>
          <a:xfrm rot="13487843">
            <a:off x="-1234296" y="2170697"/>
            <a:ext cx="2468592" cy="248349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5" name="Parallelogram 13">
            <a:extLst>
              <a:ext uri="{FF2B5EF4-FFF2-40B4-BE49-F238E27FC236}">
                <a16:creationId xmlns:a16="http://schemas.microsoft.com/office/drawing/2014/main" id="{5FE7E9FA-B87C-D902-71A8-4FF9B4E279BA}"/>
              </a:ext>
            </a:extLst>
          </p:cNvPr>
          <p:cNvSpPr/>
          <p:nvPr userDrawn="1"/>
        </p:nvSpPr>
        <p:spPr>
          <a:xfrm rot="2075180">
            <a:off x="839767" y="2461897"/>
            <a:ext cx="1353081" cy="3380021"/>
          </a:xfrm>
          <a:custGeom>
            <a:avLst/>
            <a:gdLst>
              <a:gd name="connsiteX0" fmla="*/ 0 w 5173579"/>
              <a:gd name="connsiteY0" fmla="*/ 9649326 h 9649326"/>
              <a:gd name="connsiteX1" fmla="*/ 1293395 w 5173579"/>
              <a:gd name="connsiteY1" fmla="*/ 0 h 9649326"/>
              <a:gd name="connsiteX2" fmla="*/ 5173579 w 5173579"/>
              <a:gd name="connsiteY2" fmla="*/ 0 h 9649326"/>
              <a:gd name="connsiteX3" fmla="*/ 3880184 w 5173579"/>
              <a:gd name="connsiteY3" fmla="*/ 9649326 h 9649326"/>
              <a:gd name="connsiteX4" fmla="*/ 0 w 5173579"/>
              <a:gd name="connsiteY4" fmla="*/ 9649326 h 9649326"/>
              <a:gd name="connsiteX0" fmla="*/ 0 w 5173579"/>
              <a:gd name="connsiteY0" fmla="*/ 9654120 h 9654120"/>
              <a:gd name="connsiteX1" fmla="*/ 1173174 w 5173579"/>
              <a:gd name="connsiteY1" fmla="*/ 0 h 9654120"/>
              <a:gd name="connsiteX2" fmla="*/ 5173579 w 5173579"/>
              <a:gd name="connsiteY2" fmla="*/ 4794 h 9654120"/>
              <a:gd name="connsiteX3" fmla="*/ 3880184 w 5173579"/>
              <a:gd name="connsiteY3" fmla="*/ 9654120 h 9654120"/>
              <a:gd name="connsiteX4" fmla="*/ 0 w 5173579"/>
              <a:gd name="connsiteY4" fmla="*/ 9654120 h 9654120"/>
              <a:gd name="connsiteX0" fmla="*/ 0 w 5173579"/>
              <a:gd name="connsiteY0" fmla="*/ 9654120 h 9654120"/>
              <a:gd name="connsiteX1" fmla="*/ 1173174 w 5173579"/>
              <a:gd name="connsiteY1" fmla="*/ 0 h 9654120"/>
              <a:gd name="connsiteX2" fmla="*/ 5173579 w 5173579"/>
              <a:gd name="connsiteY2" fmla="*/ 4794 h 9654120"/>
              <a:gd name="connsiteX3" fmla="*/ 4282810 w 5173579"/>
              <a:gd name="connsiteY3" fmla="*/ 6804383 h 9654120"/>
              <a:gd name="connsiteX4" fmla="*/ 0 w 5173579"/>
              <a:gd name="connsiteY4" fmla="*/ 9654120 h 9654120"/>
              <a:gd name="connsiteX0" fmla="*/ 0 w 5173579"/>
              <a:gd name="connsiteY0" fmla="*/ 9654120 h 9654120"/>
              <a:gd name="connsiteX1" fmla="*/ 1173174 w 5173579"/>
              <a:gd name="connsiteY1" fmla="*/ 0 h 9654120"/>
              <a:gd name="connsiteX2" fmla="*/ 5173579 w 5173579"/>
              <a:gd name="connsiteY2" fmla="*/ 4794 h 9654120"/>
              <a:gd name="connsiteX3" fmla="*/ 4241832 w 5173579"/>
              <a:gd name="connsiteY3" fmla="*/ 6744951 h 9654120"/>
              <a:gd name="connsiteX4" fmla="*/ 0 w 5173579"/>
              <a:gd name="connsiteY4" fmla="*/ 9654120 h 9654120"/>
              <a:gd name="connsiteX0" fmla="*/ 0 w 4770319"/>
              <a:gd name="connsiteY0" fmla="*/ 9654120 h 9654120"/>
              <a:gd name="connsiteX1" fmla="*/ 1173174 w 4770319"/>
              <a:gd name="connsiteY1" fmla="*/ 0 h 9654120"/>
              <a:gd name="connsiteX2" fmla="*/ 4770319 w 4770319"/>
              <a:gd name="connsiteY2" fmla="*/ 2387309 h 9654120"/>
              <a:gd name="connsiteX3" fmla="*/ 4241832 w 4770319"/>
              <a:gd name="connsiteY3" fmla="*/ 6744951 h 9654120"/>
              <a:gd name="connsiteX4" fmla="*/ 0 w 4770319"/>
              <a:gd name="connsiteY4" fmla="*/ 9654120 h 9654120"/>
              <a:gd name="connsiteX0" fmla="*/ 0 w 4770319"/>
              <a:gd name="connsiteY0" fmla="*/ 11834458 h 11834458"/>
              <a:gd name="connsiteX1" fmla="*/ 1452778 w 4770319"/>
              <a:gd name="connsiteY1" fmla="*/ 0 h 11834458"/>
              <a:gd name="connsiteX2" fmla="*/ 4770319 w 4770319"/>
              <a:gd name="connsiteY2" fmla="*/ 4567647 h 11834458"/>
              <a:gd name="connsiteX3" fmla="*/ 4241832 w 4770319"/>
              <a:gd name="connsiteY3" fmla="*/ 8925289 h 11834458"/>
              <a:gd name="connsiteX4" fmla="*/ 0 w 4770319"/>
              <a:gd name="connsiteY4" fmla="*/ 11834458 h 11834458"/>
              <a:gd name="connsiteX0" fmla="*/ 0 w 4770319"/>
              <a:gd name="connsiteY0" fmla="*/ 11834458 h 11834458"/>
              <a:gd name="connsiteX1" fmla="*/ 1452778 w 4770319"/>
              <a:gd name="connsiteY1" fmla="*/ 0 h 11834458"/>
              <a:gd name="connsiteX2" fmla="*/ 4770319 w 4770319"/>
              <a:gd name="connsiteY2" fmla="*/ 4567647 h 11834458"/>
              <a:gd name="connsiteX3" fmla="*/ 4234199 w 4770319"/>
              <a:gd name="connsiteY3" fmla="*/ 8914194 h 11834458"/>
              <a:gd name="connsiteX4" fmla="*/ 0 w 4770319"/>
              <a:gd name="connsiteY4" fmla="*/ 11834458 h 11834458"/>
              <a:gd name="connsiteX0" fmla="*/ 0 w 4770319"/>
              <a:gd name="connsiteY0" fmla="*/ 11893133 h 11893133"/>
              <a:gd name="connsiteX1" fmla="*/ 1395908 w 4770319"/>
              <a:gd name="connsiteY1" fmla="*/ 0 h 11893133"/>
              <a:gd name="connsiteX2" fmla="*/ 4770319 w 4770319"/>
              <a:gd name="connsiteY2" fmla="*/ 4626322 h 11893133"/>
              <a:gd name="connsiteX3" fmla="*/ 4234199 w 4770319"/>
              <a:gd name="connsiteY3" fmla="*/ 8972869 h 11893133"/>
              <a:gd name="connsiteX4" fmla="*/ 0 w 4770319"/>
              <a:gd name="connsiteY4" fmla="*/ 11893133 h 11893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70319" h="11893133">
                <a:moveTo>
                  <a:pt x="0" y="11893133"/>
                </a:moveTo>
                <a:lnTo>
                  <a:pt x="1395908" y="0"/>
                </a:lnTo>
                <a:lnTo>
                  <a:pt x="4770319" y="4626322"/>
                </a:lnTo>
                <a:lnTo>
                  <a:pt x="4234199" y="8972869"/>
                </a:lnTo>
                <a:lnTo>
                  <a:pt x="0" y="11893133"/>
                </a:lnTo>
                <a:close/>
              </a:path>
            </a:pathLst>
          </a:custGeom>
          <a:solidFill>
            <a:srgbClr val="045E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7" name="Parallelogram 13">
            <a:extLst>
              <a:ext uri="{FF2B5EF4-FFF2-40B4-BE49-F238E27FC236}">
                <a16:creationId xmlns:a16="http://schemas.microsoft.com/office/drawing/2014/main" id="{CEF5DDF1-E479-6EE8-F838-44D793A76CA4}"/>
              </a:ext>
            </a:extLst>
          </p:cNvPr>
          <p:cNvSpPr/>
          <p:nvPr userDrawn="1"/>
        </p:nvSpPr>
        <p:spPr>
          <a:xfrm rot="8425880" flipH="1">
            <a:off x="960177" y="896216"/>
            <a:ext cx="1196240" cy="3444976"/>
          </a:xfrm>
          <a:custGeom>
            <a:avLst/>
            <a:gdLst>
              <a:gd name="connsiteX0" fmla="*/ 0 w 5173579"/>
              <a:gd name="connsiteY0" fmla="*/ 9649326 h 9649326"/>
              <a:gd name="connsiteX1" fmla="*/ 1293395 w 5173579"/>
              <a:gd name="connsiteY1" fmla="*/ 0 h 9649326"/>
              <a:gd name="connsiteX2" fmla="*/ 5173579 w 5173579"/>
              <a:gd name="connsiteY2" fmla="*/ 0 h 9649326"/>
              <a:gd name="connsiteX3" fmla="*/ 3880184 w 5173579"/>
              <a:gd name="connsiteY3" fmla="*/ 9649326 h 9649326"/>
              <a:gd name="connsiteX4" fmla="*/ 0 w 5173579"/>
              <a:gd name="connsiteY4" fmla="*/ 9649326 h 9649326"/>
              <a:gd name="connsiteX0" fmla="*/ 0 w 5173579"/>
              <a:gd name="connsiteY0" fmla="*/ 9654120 h 9654120"/>
              <a:gd name="connsiteX1" fmla="*/ 1173174 w 5173579"/>
              <a:gd name="connsiteY1" fmla="*/ 0 h 9654120"/>
              <a:gd name="connsiteX2" fmla="*/ 5173579 w 5173579"/>
              <a:gd name="connsiteY2" fmla="*/ 4794 h 9654120"/>
              <a:gd name="connsiteX3" fmla="*/ 3880184 w 5173579"/>
              <a:gd name="connsiteY3" fmla="*/ 9654120 h 9654120"/>
              <a:gd name="connsiteX4" fmla="*/ 0 w 5173579"/>
              <a:gd name="connsiteY4" fmla="*/ 9654120 h 9654120"/>
              <a:gd name="connsiteX0" fmla="*/ 0 w 5173579"/>
              <a:gd name="connsiteY0" fmla="*/ 9654120 h 9654120"/>
              <a:gd name="connsiteX1" fmla="*/ 1173174 w 5173579"/>
              <a:gd name="connsiteY1" fmla="*/ 0 h 9654120"/>
              <a:gd name="connsiteX2" fmla="*/ 5173579 w 5173579"/>
              <a:gd name="connsiteY2" fmla="*/ 4794 h 9654120"/>
              <a:gd name="connsiteX3" fmla="*/ 4282810 w 5173579"/>
              <a:gd name="connsiteY3" fmla="*/ 6804383 h 9654120"/>
              <a:gd name="connsiteX4" fmla="*/ 0 w 5173579"/>
              <a:gd name="connsiteY4" fmla="*/ 9654120 h 9654120"/>
              <a:gd name="connsiteX0" fmla="*/ 0 w 5173579"/>
              <a:gd name="connsiteY0" fmla="*/ 9654120 h 9654120"/>
              <a:gd name="connsiteX1" fmla="*/ 1173174 w 5173579"/>
              <a:gd name="connsiteY1" fmla="*/ 0 h 9654120"/>
              <a:gd name="connsiteX2" fmla="*/ 5173579 w 5173579"/>
              <a:gd name="connsiteY2" fmla="*/ 4794 h 9654120"/>
              <a:gd name="connsiteX3" fmla="*/ 4241832 w 5173579"/>
              <a:gd name="connsiteY3" fmla="*/ 6744951 h 9654120"/>
              <a:gd name="connsiteX4" fmla="*/ 0 w 5173579"/>
              <a:gd name="connsiteY4" fmla="*/ 9654120 h 9654120"/>
              <a:gd name="connsiteX0" fmla="*/ 0 w 4770319"/>
              <a:gd name="connsiteY0" fmla="*/ 9654120 h 9654120"/>
              <a:gd name="connsiteX1" fmla="*/ 1173174 w 4770319"/>
              <a:gd name="connsiteY1" fmla="*/ 0 h 9654120"/>
              <a:gd name="connsiteX2" fmla="*/ 4770319 w 4770319"/>
              <a:gd name="connsiteY2" fmla="*/ 2387309 h 9654120"/>
              <a:gd name="connsiteX3" fmla="*/ 4241832 w 4770319"/>
              <a:gd name="connsiteY3" fmla="*/ 6744951 h 9654120"/>
              <a:gd name="connsiteX4" fmla="*/ 0 w 4770319"/>
              <a:gd name="connsiteY4" fmla="*/ 9654120 h 9654120"/>
              <a:gd name="connsiteX0" fmla="*/ 0 w 4770319"/>
              <a:gd name="connsiteY0" fmla="*/ 11834458 h 11834458"/>
              <a:gd name="connsiteX1" fmla="*/ 1452778 w 4770319"/>
              <a:gd name="connsiteY1" fmla="*/ 0 h 11834458"/>
              <a:gd name="connsiteX2" fmla="*/ 4770319 w 4770319"/>
              <a:gd name="connsiteY2" fmla="*/ 4567647 h 11834458"/>
              <a:gd name="connsiteX3" fmla="*/ 4241832 w 4770319"/>
              <a:gd name="connsiteY3" fmla="*/ 8925289 h 11834458"/>
              <a:gd name="connsiteX4" fmla="*/ 0 w 4770319"/>
              <a:gd name="connsiteY4" fmla="*/ 11834458 h 11834458"/>
              <a:gd name="connsiteX0" fmla="*/ 0 w 3758701"/>
              <a:gd name="connsiteY0" fmla="*/ 12193226 h 12193226"/>
              <a:gd name="connsiteX1" fmla="*/ 441160 w 3758701"/>
              <a:gd name="connsiteY1" fmla="*/ 0 h 12193226"/>
              <a:gd name="connsiteX2" fmla="*/ 3758701 w 3758701"/>
              <a:gd name="connsiteY2" fmla="*/ 4567647 h 12193226"/>
              <a:gd name="connsiteX3" fmla="*/ 3230214 w 3758701"/>
              <a:gd name="connsiteY3" fmla="*/ 8925289 h 12193226"/>
              <a:gd name="connsiteX4" fmla="*/ 0 w 3758701"/>
              <a:gd name="connsiteY4" fmla="*/ 12193226 h 12193226"/>
              <a:gd name="connsiteX0" fmla="*/ 0 w 3758701"/>
              <a:gd name="connsiteY0" fmla="*/ 12193226 h 12193226"/>
              <a:gd name="connsiteX1" fmla="*/ 441160 w 3758701"/>
              <a:gd name="connsiteY1" fmla="*/ 0 h 12193226"/>
              <a:gd name="connsiteX2" fmla="*/ 3758701 w 3758701"/>
              <a:gd name="connsiteY2" fmla="*/ 4567647 h 12193226"/>
              <a:gd name="connsiteX3" fmla="*/ 3382557 w 3758701"/>
              <a:gd name="connsiteY3" fmla="*/ 9197087 h 12193226"/>
              <a:gd name="connsiteX4" fmla="*/ 0 w 3758701"/>
              <a:gd name="connsiteY4" fmla="*/ 12193226 h 12193226"/>
              <a:gd name="connsiteX0" fmla="*/ 0 w 3758701"/>
              <a:gd name="connsiteY0" fmla="*/ 11937534 h 11937534"/>
              <a:gd name="connsiteX1" fmla="*/ 434410 w 3758701"/>
              <a:gd name="connsiteY1" fmla="*/ 0 h 11937534"/>
              <a:gd name="connsiteX2" fmla="*/ 3758701 w 3758701"/>
              <a:gd name="connsiteY2" fmla="*/ 4311955 h 11937534"/>
              <a:gd name="connsiteX3" fmla="*/ 3382557 w 3758701"/>
              <a:gd name="connsiteY3" fmla="*/ 8941395 h 11937534"/>
              <a:gd name="connsiteX4" fmla="*/ 0 w 3758701"/>
              <a:gd name="connsiteY4" fmla="*/ 11937534 h 11937534"/>
              <a:gd name="connsiteX0" fmla="*/ 0 w 3758701"/>
              <a:gd name="connsiteY0" fmla="*/ 12147583 h 12147583"/>
              <a:gd name="connsiteX1" fmla="*/ 435222 w 3758701"/>
              <a:gd name="connsiteY1" fmla="*/ 0 h 12147583"/>
              <a:gd name="connsiteX2" fmla="*/ 3758701 w 3758701"/>
              <a:gd name="connsiteY2" fmla="*/ 4522004 h 12147583"/>
              <a:gd name="connsiteX3" fmla="*/ 3382557 w 3758701"/>
              <a:gd name="connsiteY3" fmla="*/ 9151444 h 12147583"/>
              <a:gd name="connsiteX4" fmla="*/ 0 w 3758701"/>
              <a:gd name="connsiteY4" fmla="*/ 12147583 h 12147583"/>
              <a:gd name="connsiteX0" fmla="*/ 0 w 3718247"/>
              <a:gd name="connsiteY0" fmla="*/ 12094610 h 12094610"/>
              <a:gd name="connsiteX1" fmla="*/ 394768 w 3718247"/>
              <a:gd name="connsiteY1" fmla="*/ 0 h 12094610"/>
              <a:gd name="connsiteX2" fmla="*/ 3718247 w 3718247"/>
              <a:gd name="connsiteY2" fmla="*/ 4522004 h 12094610"/>
              <a:gd name="connsiteX3" fmla="*/ 3342103 w 3718247"/>
              <a:gd name="connsiteY3" fmla="*/ 9151444 h 12094610"/>
              <a:gd name="connsiteX4" fmla="*/ 0 w 3718247"/>
              <a:gd name="connsiteY4" fmla="*/ 12094610 h 12094610"/>
              <a:gd name="connsiteX0" fmla="*/ 0 w 3734266"/>
              <a:gd name="connsiteY0" fmla="*/ 12094610 h 12094610"/>
              <a:gd name="connsiteX1" fmla="*/ 394768 w 3734266"/>
              <a:gd name="connsiteY1" fmla="*/ 0 h 12094610"/>
              <a:gd name="connsiteX2" fmla="*/ 3734266 w 3734266"/>
              <a:gd name="connsiteY2" fmla="*/ 4542648 h 12094610"/>
              <a:gd name="connsiteX3" fmla="*/ 3342103 w 3734266"/>
              <a:gd name="connsiteY3" fmla="*/ 9151444 h 12094610"/>
              <a:gd name="connsiteX4" fmla="*/ 0 w 3734266"/>
              <a:gd name="connsiteY4" fmla="*/ 12094610 h 12094610"/>
              <a:gd name="connsiteX0" fmla="*/ 0 w 3756611"/>
              <a:gd name="connsiteY0" fmla="*/ 12094610 h 12094610"/>
              <a:gd name="connsiteX1" fmla="*/ 394768 w 3756611"/>
              <a:gd name="connsiteY1" fmla="*/ 0 h 12094610"/>
              <a:gd name="connsiteX2" fmla="*/ 3756611 w 3756611"/>
              <a:gd name="connsiteY2" fmla="*/ 4592468 h 12094610"/>
              <a:gd name="connsiteX3" fmla="*/ 3342103 w 3756611"/>
              <a:gd name="connsiteY3" fmla="*/ 9151444 h 12094610"/>
              <a:gd name="connsiteX4" fmla="*/ 0 w 3756611"/>
              <a:gd name="connsiteY4" fmla="*/ 12094610 h 12094610"/>
              <a:gd name="connsiteX0" fmla="*/ 0 w 3764149"/>
              <a:gd name="connsiteY0" fmla="*/ 12094610 h 12094610"/>
              <a:gd name="connsiteX1" fmla="*/ 394768 w 3764149"/>
              <a:gd name="connsiteY1" fmla="*/ 0 h 12094610"/>
              <a:gd name="connsiteX2" fmla="*/ 3764149 w 3764149"/>
              <a:gd name="connsiteY2" fmla="*/ 4559190 h 12094610"/>
              <a:gd name="connsiteX3" fmla="*/ 3342103 w 3764149"/>
              <a:gd name="connsiteY3" fmla="*/ 9151444 h 12094610"/>
              <a:gd name="connsiteX4" fmla="*/ 0 w 3764149"/>
              <a:gd name="connsiteY4" fmla="*/ 12094610 h 12094610"/>
              <a:gd name="connsiteX0" fmla="*/ 0 w 3769966"/>
              <a:gd name="connsiteY0" fmla="*/ 12094610 h 12094610"/>
              <a:gd name="connsiteX1" fmla="*/ 394768 w 3769966"/>
              <a:gd name="connsiteY1" fmla="*/ 0 h 12094610"/>
              <a:gd name="connsiteX2" fmla="*/ 3769966 w 3769966"/>
              <a:gd name="connsiteY2" fmla="*/ 4545190 h 12094610"/>
              <a:gd name="connsiteX3" fmla="*/ 3342103 w 3769966"/>
              <a:gd name="connsiteY3" fmla="*/ 9151444 h 12094610"/>
              <a:gd name="connsiteX4" fmla="*/ 0 w 3769966"/>
              <a:gd name="connsiteY4" fmla="*/ 12094610 h 12094610"/>
              <a:gd name="connsiteX0" fmla="*/ 0 w 3824271"/>
              <a:gd name="connsiteY0" fmla="*/ 12094610 h 12094610"/>
              <a:gd name="connsiteX1" fmla="*/ 394768 w 3824271"/>
              <a:gd name="connsiteY1" fmla="*/ 0 h 12094610"/>
              <a:gd name="connsiteX2" fmla="*/ 3824271 w 3824271"/>
              <a:gd name="connsiteY2" fmla="*/ 4550687 h 12094610"/>
              <a:gd name="connsiteX3" fmla="*/ 3342103 w 3824271"/>
              <a:gd name="connsiteY3" fmla="*/ 9151444 h 12094610"/>
              <a:gd name="connsiteX4" fmla="*/ 0 w 3824271"/>
              <a:gd name="connsiteY4" fmla="*/ 12094610 h 12094610"/>
              <a:gd name="connsiteX0" fmla="*/ 0 w 3926781"/>
              <a:gd name="connsiteY0" fmla="*/ 12094610 h 12094610"/>
              <a:gd name="connsiteX1" fmla="*/ 394768 w 3926781"/>
              <a:gd name="connsiteY1" fmla="*/ 0 h 12094610"/>
              <a:gd name="connsiteX2" fmla="*/ 3926781 w 3926781"/>
              <a:gd name="connsiteY2" fmla="*/ 4566893 h 12094610"/>
              <a:gd name="connsiteX3" fmla="*/ 3342103 w 3926781"/>
              <a:gd name="connsiteY3" fmla="*/ 9151444 h 12094610"/>
              <a:gd name="connsiteX4" fmla="*/ 0 w 3926781"/>
              <a:gd name="connsiteY4" fmla="*/ 12094610 h 12094610"/>
              <a:gd name="connsiteX0" fmla="*/ 0 w 3952346"/>
              <a:gd name="connsiteY0" fmla="*/ 12094610 h 12094610"/>
              <a:gd name="connsiteX1" fmla="*/ 394768 w 3952346"/>
              <a:gd name="connsiteY1" fmla="*/ 0 h 12094610"/>
              <a:gd name="connsiteX2" fmla="*/ 3952346 w 3952346"/>
              <a:gd name="connsiteY2" fmla="*/ 4586962 h 12094610"/>
              <a:gd name="connsiteX3" fmla="*/ 3342103 w 3952346"/>
              <a:gd name="connsiteY3" fmla="*/ 9151444 h 12094610"/>
              <a:gd name="connsiteX4" fmla="*/ 0 w 3952346"/>
              <a:gd name="connsiteY4" fmla="*/ 12094610 h 12094610"/>
              <a:gd name="connsiteX0" fmla="*/ 0 w 3943563"/>
              <a:gd name="connsiteY0" fmla="*/ 12094610 h 12094610"/>
              <a:gd name="connsiteX1" fmla="*/ 394768 w 3943563"/>
              <a:gd name="connsiteY1" fmla="*/ 0 h 12094610"/>
              <a:gd name="connsiteX2" fmla="*/ 3943563 w 3943563"/>
              <a:gd name="connsiteY2" fmla="*/ 4562765 h 12094610"/>
              <a:gd name="connsiteX3" fmla="*/ 3342103 w 3943563"/>
              <a:gd name="connsiteY3" fmla="*/ 9151444 h 12094610"/>
              <a:gd name="connsiteX4" fmla="*/ 0 w 3943563"/>
              <a:gd name="connsiteY4" fmla="*/ 12094610 h 12094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43563" h="12094610">
                <a:moveTo>
                  <a:pt x="0" y="12094610"/>
                </a:moveTo>
                <a:lnTo>
                  <a:pt x="394768" y="0"/>
                </a:lnTo>
                <a:lnTo>
                  <a:pt x="3943563" y="4562765"/>
                </a:lnTo>
                <a:lnTo>
                  <a:pt x="3342103" y="9151444"/>
                </a:lnTo>
                <a:lnTo>
                  <a:pt x="0" y="12094610"/>
                </a:lnTo>
                <a:close/>
              </a:path>
            </a:pathLst>
          </a:custGeom>
          <a:solidFill>
            <a:srgbClr val="007A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AFFA6E0-E40B-F470-7F9A-1E18C8C862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97403" y="2959450"/>
            <a:ext cx="9195508" cy="905987"/>
          </a:xfrm>
          <a:prstGeom prst="rect">
            <a:avLst/>
          </a:prstGeom>
          <a:noFill/>
        </p:spPr>
        <p:txBody>
          <a:bodyPr lIns="0" rIns="0" anchor="ctr"/>
          <a:lstStyle>
            <a:lvl1pPr marL="0"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US" dirty="0"/>
              <a:t>Click to edit slide divider header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EC37289-0347-A0CB-4EE9-D026F21D72CB}"/>
              </a:ext>
            </a:extLst>
          </p:cNvPr>
          <p:cNvSpPr txBox="1"/>
          <p:nvPr userDrawn="1"/>
        </p:nvSpPr>
        <p:spPr>
          <a:xfrm>
            <a:off x="161304" y="6673899"/>
            <a:ext cx="62308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 dirty="0">
                <a:solidFill>
                  <a:srgbClr val="54596A"/>
                </a:solidFill>
              </a:rPr>
              <a:t>© 2023 </a:t>
            </a:r>
            <a:r>
              <a:rPr lang="en-US" sz="800" dirty="0" err="1">
                <a:solidFill>
                  <a:srgbClr val="54596A"/>
                </a:solidFill>
              </a:rPr>
              <a:t>TPx</a:t>
            </a:r>
            <a:r>
              <a:rPr lang="en-US" sz="800" dirty="0">
                <a:solidFill>
                  <a:srgbClr val="54596A"/>
                </a:solidFill>
              </a:rPr>
              <a:t> Communications. Confidential Information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244532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image" Target="../media/image2.png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7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5.xml"/><Relationship Id="rId11" Type="http://schemas.openxmlformats.org/officeDocument/2006/relationships/image" Target="../media/image2.png"/><Relationship Id="rId5" Type="http://schemas.openxmlformats.org/officeDocument/2006/relationships/theme" Target="../theme/theme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8.xml"/><Relationship Id="rId9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ags" Target="../tags/tag14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ags" Target="../tags/tag13.xml"/><Relationship Id="rId5" Type="http://schemas.openxmlformats.org/officeDocument/2006/relationships/slideLayout" Target="../slideLayouts/slideLayout13.xml"/><Relationship Id="rId15" Type="http://schemas.openxmlformats.org/officeDocument/2006/relationships/image" Target="../media/image2.png"/><Relationship Id="rId10" Type="http://schemas.openxmlformats.org/officeDocument/2006/relationships/tags" Target="../tags/tag12.xml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3.xml"/><Relationship Id="rId14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26" Type="http://schemas.openxmlformats.org/officeDocument/2006/relationships/slideLayout" Target="../slideLayouts/slideLayout42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37.xml"/><Relationship Id="rId34" Type="http://schemas.openxmlformats.org/officeDocument/2006/relationships/theme" Target="../theme/theme4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5" Type="http://schemas.openxmlformats.org/officeDocument/2006/relationships/slideLayout" Target="../slideLayouts/slideLayout41.xml"/><Relationship Id="rId33" Type="http://schemas.openxmlformats.org/officeDocument/2006/relationships/slideLayout" Target="../slideLayouts/slideLayout49.xml"/><Relationship Id="rId38" Type="http://schemas.openxmlformats.org/officeDocument/2006/relationships/oleObject" Target="../embeddings/oleObject4.bin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slideLayout" Target="../slideLayouts/slideLayout36.xml"/><Relationship Id="rId29" Type="http://schemas.openxmlformats.org/officeDocument/2006/relationships/slideLayout" Target="../slideLayouts/slideLayout45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24" Type="http://schemas.openxmlformats.org/officeDocument/2006/relationships/slideLayout" Target="../slideLayouts/slideLayout40.xml"/><Relationship Id="rId32" Type="http://schemas.openxmlformats.org/officeDocument/2006/relationships/slideLayout" Target="../slideLayouts/slideLayout48.xml"/><Relationship Id="rId37" Type="http://schemas.openxmlformats.org/officeDocument/2006/relationships/tags" Target="../tags/tag22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23" Type="http://schemas.openxmlformats.org/officeDocument/2006/relationships/slideLayout" Target="../slideLayouts/slideLayout39.xml"/><Relationship Id="rId28" Type="http://schemas.openxmlformats.org/officeDocument/2006/relationships/slideLayout" Target="../slideLayouts/slideLayout44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26.xml"/><Relationship Id="rId19" Type="http://schemas.openxmlformats.org/officeDocument/2006/relationships/slideLayout" Target="../slideLayouts/slideLayout35.xml"/><Relationship Id="rId31" Type="http://schemas.openxmlformats.org/officeDocument/2006/relationships/slideLayout" Target="../slideLayouts/slideLayout47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slideLayout" Target="../slideLayouts/slideLayout38.xml"/><Relationship Id="rId27" Type="http://schemas.openxmlformats.org/officeDocument/2006/relationships/slideLayout" Target="../slideLayouts/slideLayout43.xml"/><Relationship Id="rId30" Type="http://schemas.openxmlformats.org/officeDocument/2006/relationships/slideLayout" Target="../slideLayouts/slideLayout46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642748A-F8A2-E345-87CE-CB84E4E40E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24891889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642748A-F8A2-E345-87CE-CB84E4E40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197C260-30B1-8F47-A437-ED77871AF722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Roboto Condensed Light" panose="02000000000000000000" pitchFamily="2" charset="0"/>
              <a:ea typeface="+mj-ea"/>
              <a:sym typeface="Roboto Condensed Light" panose="02000000000000000000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3AE0739-6272-2B4D-AECB-A6CE172C53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 vert="horz" lIns="274320" tIns="0" rIns="274320" bIns="0" rtlCol="0" anchor="ctr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C06248-BB75-4E4A-BFE3-4A39C78CA8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2919" y="1179320"/>
            <a:ext cx="11566164" cy="5177029"/>
          </a:xfrm>
          <a:prstGeom prst="rect">
            <a:avLst/>
          </a:prstGeom>
        </p:spPr>
        <p:txBody>
          <a:bodyPr vert="horz" lIns="274320" tIns="274320" rIns="274320" bIns="2743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FB3C8892-2B71-4367-59EB-BC471AF70F29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85500" y="6323455"/>
            <a:ext cx="1092200" cy="409575"/>
          </a:xfrm>
          <a:prstGeom prst="rect">
            <a:avLst/>
          </a:prstGeom>
        </p:spPr>
      </p:pic>
    </p:spTree>
    <p:custDataLst>
      <p:tags r:id="rId6"/>
    </p:custDataLst>
    <p:extLst>
      <p:ext uri="{BB962C8B-B14F-4D97-AF65-F5344CB8AC3E}">
        <p14:creationId xmlns:p14="http://schemas.microsoft.com/office/powerpoint/2010/main" val="30635869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48" r:id="rId2"/>
    <p:sldLayoutId id="2147485810" r:id="rId3"/>
    <p:sldLayoutId id="2147485811" r:id="rId4"/>
  </p:sldLayoutIdLst>
  <p:txStyles>
    <p:titleStyle>
      <a:lvl1pPr marL="254020" algn="l" defTabSz="914473" rtl="0" eaLnBrk="1" latinLnBrk="0" hangingPunct="1">
        <a:lnSpc>
          <a:spcPct val="100000"/>
        </a:lnSpc>
        <a:spcBef>
          <a:spcPct val="0"/>
        </a:spcBef>
        <a:buNone/>
        <a:defRPr lang="en-US" sz="4000" b="0" i="0" kern="1200" cap="none" baseline="0" dirty="0">
          <a:solidFill>
            <a:schemeClr val="tx1">
              <a:lumMod val="65000"/>
              <a:lumOff val="35000"/>
            </a:schemeClr>
          </a:solidFill>
          <a:latin typeface="Roboto Light" panose="02000000000000000000" pitchFamily="2" charset="0"/>
          <a:ea typeface="Roboto Light" panose="02000000000000000000" pitchFamily="2" charset="0"/>
          <a:cs typeface="Arial" panose="020B0604020202020204" pitchFamily="34" charset="0"/>
        </a:defRPr>
      </a:lvl1pPr>
    </p:titleStyle>
    <p:bodyStyle>
      <a:lvl1pPr marL="5292" indent="0" algn="l" defTabSz="914473" rtl="0" eaLnBrk="1" latinLnBrk="0" hangingPunct="1">
        <a:lnSpc>
          <a:spcPct val="100000"/>
        </a:lnSpc>
        <a:spcBef>
          <a:spcPts val="600"/>
        </a:spcBef>
        <a:spcAft>
          <a:spcPts val="167"/>
        </a:spcAft>
        <a:buFont typeface="Arial" panose="020B0604020202020204" pitchFamily="34" charset="0"/>
        <a:buNone/>
        <a:tabLst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Arial" panose="020B0604020202020204" pitchFamily="34" charset="0"/>
        </a:defRPr>
      </a:lvl1pPr>
      <a:lvl2pPr marL="479816" indent="-158763" algn="l" defTabSz="914473" rtl="0" eaLnBrk="1" latinLnBrk="0" hangingPunct="1">
        <a:lnSpc>
          <a:spcPct val="100000"/>
        </a:lnSpc>
        <a:spcBef>
          <a:spcPts val="600"/>
        </a:spcBef>
        <a:spcAft>
          <a:spcPts val="167"/>
        </a:spcAft>
        <a:buClr>
          <a:srgbClr val="595959"/>
        </a:buClr>
        <a:buFont typeface="Arial" panose="020B0604020202020204" pitchFamily="34" charset="0"/>
        <a:buChar char="•"/>
        <a:tabLst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Arial" panose="020B0604020202020204" pitchFamily="34" charset="0"/>
        </a:defRPr>
      </a:lvl2pPr>
      <a:lvl3pPr marL="829094" indent="-157881" algn="l" defTabSz="2032163" rtl="0" eaLnBrk="1" latinLnBrk="0" hangingPunct="1">
        <a:lnSpc>
          <a:spcPct val="100000"/>
        </a:lnSpc>
        <a:spcBef>
          <a:spcPts val="600"/>
        </a:spcBef>
        <a:spcAft>
          <a:spcPts val="167"/>
        </a:spcAft>
        <a:buClr>
          <a:srgbClr val="595959"/>
        </a:buClr>
        <a:buSzPct val="100000"/>
        <a:buFont typeface="Arial" panose="020B0604020202020204" pitchFamily="34" charset="0"/>
        <a:buChar char="•"/>
        <a:tabLst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Arial" panose="020B0604020202020204" pitchFamily="34" charset="0"/>
        </a:defRPr>
      </a:lvl3pPr>
      <a:lvl4pPr marL="1179254" indent="-157881" algn="l" defTabSz="914473" rtl="0" eaLnBrk="1" latinLnBrk="0" hangingPunct="1">
        <a:lnSpc>
          <a:spcPct val="100000"/>
        </a:lnSpc>
        <a:spcBef>
          <a:spcPts val="600"/>
        </a:spcBef>
        <a:spcAft>
          <a:spcPts val="167"/>
        </a:spcAft>
        <a:buClr>
          <a:srgbClr val="595959"/>
        </a:buClr>
        <a:buFont typeface="Arial" panose="020B0604020202020204" pitchFamily="34" charset="0"/>
        <a:buChar char="•"/>
        <a:tabLst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Arial" panose="020B0604020202020204" pitchFamily="34" charset="0"/>
        </a:defRPr>
      </a:lvl4pPr>
      <a:lvl5pPr marL="1529414" indent="-129656" algn="l" defTabSz="914473" rtl="0" eaLnBrk="1" latinLnBrk="0" hangingPunct="1">
        <a:lnSpc>
          <a:spcPct val="100000"/>
        </a:lnSpc>
        <a:spcBef>
          <a:spcPts val="600"/>
        </a:spcBef>
        <a:spcAft>
          <a:spcPts val="167"/>
        </a:spcAft>
        <a:buClr>
          <a:srgbClr val="595959"/>
        </a:buClr>
        <a:buSzPct val="100000"/>
        <a:buFont typeface="Arial" panose="020B0604020202020204" pitchFamily="34" charset="0"/>
        <a:buChar char="•"/>
        <a:tabLst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Arial" panose="020B0604020202020204" pitchFamily="34" charset="0"/>
        </a:defRPr>
      </a:lvl5pPr>
      <a:lvl6pPr marL="2514801" indent="-228618" algn="l" defTabSz="91447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038" indent="-228618" algn="l" defTabSz="91447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274" indent="-228618" algn="l" defTabSz="91447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511" indent="-228618" algn="l" defTabSz="91447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37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73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10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46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83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419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656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893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642748A-F8A2-E345-87CE-CB84E4E40E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24891889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642748A-F8A2-E345-87CE-CB84E4E40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197C260-30B1-8F47-A437-ED77871AF722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Roboto Condensed Light" panose="02000000000000000000" pitchFamily="2" charset="0"/>
              <a:ea typeface="+mj-ea"/>
              <a:sym typeface="Roboto Condensed Light" panose="02000000000000000000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3AE0739-6272-2B4D-AECB-A6CE172C53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 vert="horz" lIns="274320" tIns="0" rIns="274320" bIns="0" rtlCol="0" anchor="ctr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C06248-BB75-4E4A-BFE3-4A39C78CA8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2919" y="1179320"/>
            <a:ext cx="11566164" cy="5177029"/>
          </a:xfrm>
          <a:prstGeom prst="rect">
            <a:avLst/>
          </a:prstGeom>
        </p:spPr>
        <p:txBody>
          <a:bodyPr vert="horz" lIns="274320" tIns="274320" rIns="274320" bIns="2743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FB3C8892-2B71-4367-59EB-BC471AF70F29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85500" y="6323455"/>
            <a:ext cx="1092200" cy="409575"/>
          </a:xfrm>
          <a:prstGeom prst="rect">
            <a:avLst/>
          </a:prstGeom>
        </p:spPr>
      </p:pic>
    </p:spTree>
    <p:custDataLst>
      <p:tags r:id="rId6"/>
    </p:custDataLst>
    <p:extLst>
      <p:ext uri="{BB962C8B-B14F-4D97-AF65-F5344CB8AC3E}">
        <p14:creationId xmlns:p14="http://schemas.microsoft.com/office/powerpoint/2010/main" val="2176893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69" r:id="rId1"/>
    <p:sldLayoutId id="2147485770" r:id="rId2"/>
    <p:sldLayoutId id="2147485767" r:id="rId3"/>
    <p:sldLayoutId id="2147485812" r:id="rId4"/>
  </p:sldLayoutIdLst>
  <p:txStyles>
    <p:titleStyle>
      <a:lvl1pPr marL="254020" algn="l" defTabSz="914473" rtl="0" eaLnBrk="1" latinLnBrk="0" hangingPunct="1">
        <a:lnSpc>
          <a:spcPct val="100000"/>
        </a:lnSpc>
        <a:spcBef>
          <a:spcPct val="0"/>
        </a:spcBef>
        <a:buNone/>
        <a:defRPr lang="en-US" sz="4000" b="0" i="0" kern="1200" cap="none" baseline="0" dirty="0">
          <a:solidFill>
            <a:schemeClr val="tx1">
              <a:lumMod val="65000"/>
              <a:lumOff val="35000"/>
            </a:schemeClr>
          </a:solidFill>
          <a:latin typeface="Roboto Light" panose="02000000000000000000" pitchFamily="2" charset="0"/>
          <a:ea typeface="Roboto Light" panose="02000000000000000000" pitchFamily="2" charset="0"/>
          <a:cs typeface="Arial" panose="020B0604020202020204" pitchFamily="34" charset="0"/>
        </a:defRPr>
      </a:lvl1pPr>
    </p:titleStyle>
    <p:bodyStyle>
      <a:lvl1pPr marL="5292" indent="0" algn="l" defTabSz="914473" rtl="0" eaLnBrk="1" latinLnBrk="0" hangingPunct="1">
        <a:lnSpc>
          <a:spcPct val="100000"/>
        </a:lnSpc>
        <a:spcBef>
          <a:spcPts val="600"/>
        </a:spcBef>
        <a:spcAft>
          <a:spcPts val="167"/>
        </a:spcAft>
        <a:buFont typeface="Arial" panose="020B0604020202020204" pitchFamily="34" charset="0"/>
        <a:buNone/>
        <a:tabLst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Arial" panose="020B0604020202020204" pitchFamily="34" charset="0"/>
        </a:defRPr>
      </a:lvl1pPr>
      <a:lvl2pPr marL="349278" indent="164055" algn="l" defTabSz="914473" rtl="0" eaLnBrk="1" latinLnBrk="0" hangingPunct="1">
        <a:lnSpc>
          <a:spcPct val="100000"/>
        </a:lnSpc>
        <a:spcBef>
          <a:spcPts val="600"/>
        </a:spcBef>
        <a:spcAft>
          <a:spcPts val="167"/>
        </a:spcAft>
        <a:buClr>
          <a:srgbClr val="595959"/>
        </a:buClr>
        <a:buFont typeface="Arial" panose="020B0604020202020204" pitchFamily="34" charset="0"/>
        <a:buChar char="•"/>
        <a:tabLst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Arial" panose="020B0604020202020204" pitchFamily="34" charset="0"/>
        </a:defRPr>
      </a:lvl2pPr>
      <a:lvl3pPr marL="795578" indent="-124364" algn="l" defTabSz="2032163" rtl="0" eaLnBrk="1" latinLnBrk="0" hangingPunct="1">
        <a:lnSpc>
          <a:spcPct val="100000"/>
        </a:lnSpc>
        <a:spcBef>
          <a:spcPts val="600"/>
        </a:spcBef>
        <a:spcAft>
          <a:spcPts val="167"/>
        </a:spcAft>
        <a:buClr>
          <a:srgbClr val="595959"/>
        </a:buClr>
        <a:buSzPct val="100000"/>
        <a:buFont typeface="Arial" panose="020B0604020202020204" pitchFamily="34" charset="0"/>
        <a:buChar char="•"/>
        <a:tabLst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Arial" panose="020B0604020202020204" pitchFamily="34" charset="0"/>
        </a:defRPr>
      </a:lvl3pPr>
      <a:lvl4pPr marL="1179254" indent="-129656" algn="l" defTabSz="914473" rtl="0" eaLnBrk="1" latinLnBrk="0" hangingPunct="1">
        <a:lnSpc>
          <a:spcPct val="100000"/>
        </a:lnSpc>
        <a:spcBef>
          <a:spcPts val="600"/>
        </a:spcBef>
        <a:spcAft>
          <a:spcPts val="167"/>
        </a:spcAft>
        <a:buClr>
          <a:srgbClr val="595959"/>
        </a:buClr>
        <a:buFont typeface="Arial" panose="020B0604020202020204" pitchFamily="34" charset="0"/>
        <a:buChar char="•"/>
        <a:tabLst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Arial" panose="020B0604020202020204" pitchFamily="34" charset="0"/>
        </a:defRPr>
      </a:lvl4pPr>
      <a:lvl5pPr marL="1591155" indent="-129656" algn="l" defTabSz="914473" rtl="0" eaLnBrk="1" latinLnBrk="0" hangingPunct="1">
        <a:lnSpc>
          <a:spcPct val="100000"/>
        </a:lnSpc>
        <a:spcBef>
          <a:spcPts val="600"/>
        </a:spcBef>
        <a:spcAft>
          <a:spcPts val="167"/>
        </a:spcAft>
        <a:buClr>
          <a:srgbClr val="595959"/>
        </a:buClr>
        <a:buSzPct val="100000"/>
        <a:buFont typeface="Arial" panose="020B0604020202020204" pitchFamily="34" charset="0"/>
        <a:buChar char="•"/>
        <a:tabLst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Arial" panose="020B0604020202020204" pitchFamily="34" charset="0"/>
        </a:defRPr>
      </a:lvl5pPr>
      <a:lvl6pPr marL="2514801" indent="-228618" algn="l" defTabSz="91447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038" indent="-228618" algn="l" defTabSz="91447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274" indent="-228618" algn="l" defTabSz="91447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511" indent="-228618" algn="l" defTabSz="91447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37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73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10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46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83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419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656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893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642748A-F8A2-E345-87CE-CB84E4E40E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424891889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7772400" imgH="10058400" progId="TCLayout.ActiveDocument.1">
                  <p:embed/>
                </p:oleObj>
              </mc:Choice>
              <mc:Fallback>
                <p:oleObj name="think-cell Slide" r:id="rId1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642748A-F8A2-E345-87CE-CB84E4E40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197C260-30B1-8F47-A437-ED77871AF722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Roboto Condensed Light" panose="02000000000000000000" pitchFamily="2" charset="0"/>
              <a:ea typeface="+mj-ea"/>
              <a:sym typeface="Roboto Condensed Light" panose="02000000000000000000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3AE0739-6272-2B4D-AECB-A6CE172C53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 vert="horz" lIns="274320" tIns="0" rIns="274320" bIns="0" rtlCol="0" anchor="ctr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FB3C8892-2B71-4367-59EB-BC471AF70F29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85500" y="6323455"/>
            <a:ext cx="1092200" cy="409575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592EC96-CDC0-E6F5-EA51-DD5E53B2DF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2919" y="1179321"/>
            <a:ext cx="11566164" cy="5052146"/>
          </a:xfrm>
          <a:prstGeom prst="rect">
            <a:avLst/>
          </a:prstGeom>
        </p:spPr>
        <p:txBody>
          <a:bodyPr vert="horz" lIns="274320" tIns="274320" rIns="274320" bIns="2743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0"/>
    </p:custDataLst>
    <p:extLst>
      <p:ext uri="{BB962C8B-B14F-4D97-AF65-F5344CB8AC3E}">
        <p14:creationId xmlns:p14="http://schemas.microsoft.com/office/powerpoint/2010/main" val="481044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73" r:id="rId1"/>
    <p:sldLayoutId id="2147485774" r:id="rId2"/>
    <p:sldLayoutId id="2147485775" r:id="rId3"/>
    <p:sldLayoutId id="2147485776" r:id="rId4"/>
    <p:sldLayoutId id="2147485777" r:id="rId5"/>
    <p:sldLayoutId id="2147483658" r:id="rId6"/>
    <p:sldLayoutId id="2147483660" r:id="rId7"/>
    <p:sldLayoutId id="2147483667" r:id="rId8"/>
  </p:sldLayoutIdLst>
  <p:txStyles>
    <p:titleStyle>
      <a:lvl1pPr marL="254020" algn="l" defTabSz="914473" rtl="0" eaLnBrk="1" latinLnBrk="0" hangingPunct="1">
        <a:lnSpc>
          <a:spcPct val="100000"/>
        </a:lnSpc>
        <a:spcBef>
          <a:spcPct val="0"/>
        </a:spcBef>
        <a:buNone/>
        <a:defRPr lang="en-US" sz="4000" b="0" i="0" kern="1200" cap="none" baseline="0" dirty="0">
          <a:solidFill>
            <a:schemeClr val="tx1">
              <a:lumMod val="65000"/>
              <a:lumOff val="35000"/>
            </a:schemeClr>
          </a:solidFill>
          <a:latin typeface="Roboto Light" panose="02000000000000000000" pitchFamily="2" charset="0"/>
          <a:ea typeface="Roboto Light" panose="02000000000000000000" pitchFamily="2" charset="0"/>
          <a:cs typeface="Arial" panose="020B0604020202020204" pitchFamily="34" charset="0"/>
        </a:defRPr>
      </a:lvl1pPr>
    </p:titleStyle>
    <p:bodyStyle>
      <a:lvl1pPr marL="10761" indent="0" algn="l" defTabSz="914473" rtl="0" eaLnBrk="1" latinLnBrk="0" hangingPunct="1">
        <a:lnSpc>
          <a:spcPct val="100000"/>
        </a:lnSpc>
        <a:spcBef>
          <a:spcPts val="600"/>
        </a:spcBef>
        <a:spcAft>
          <a:spcPts val="167"/>
        </a:spcAft>
        <a:buFont typeface="Arial" panose="020B0604020202020204" pitchFamily="34" charset="0"/>
        <a:buNone/>
        <a:tabLst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Arial" panose="020B0604020202020204" pitchFamily="34" charset="0"/>
        </a:defRPr>
      </a:lvl1pPr>
      <a:lvl2pPr marL="479816" indent="-158763" algn="l" defTabSz="914473" rtl="0" eaLnBrk="1" latinLnBrk="0" hangingPunct="1">
        <a:lnSpc>
          <a:spcPct val="100000"/>
        </a:lnSpc>
        <a:spcBef>
          <a:spcPts val="600"/>
        </a:spcBef>
        <a:spcAft>
          <a:spcPts val="167"/>
        </a:spcAft>
        <a:buClr>
          <a:srgbClr val="54596A"/>
        </a:buClr>
        <a:buFont typeface="Arial" panose="020B0604020202020204" pitchFamily="34" charset="0"/>
        <a:buChar char="•"/>
        <a:tabLst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Arial" panose="020B0604020202020204" pitchFamily="34" charset="0"/>
        </a:defRPr>
      </a:lvl2pPr>
      <a:lvl3pPr marL="795578" indent="-124364" algn="l" defTabSz="2032163" rtl="0" eaLnBrk="1" latinLnBrk="0" hangingPunct="1">
        <a:lnSpc>
          <a:spcPct val="100000"/>
        </a:lnSpc>
        <a:spcBef>
          <a:spcPts val="600"/>
        </a:spcBef>
        <a:spcAft>
          <a:spcPts val="167"/>
        </a:spcAft>
        <a:buClr>
          <a:srgbClr val="54596A"/>
        </a:buClr>
        <a:buSzPct val="100000"/>
        <a:buFont typeface="Arial" panose="020B0604020202020204" pitchFamily="34" charset="0"/>
        <a:buChar char="•"/>
        <a:tabLst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Arial" panose="020B0604020202020204" pitchFamily="34" charset="0"/>
        </a:defRPr>
      </a:lvl3pPr>
      <a:lvl4pPr marL="1207479" indent="-157881" algn="l" defTabSz="914473" rtl="0" eaLnBrk="1" latinLnBrk="0" hangingPunct="1">
        <a:lnSpc>
          <a:spcPct val="100000"/>
        </a:lnSpc>
        <a:spcBef>
          <a:spcPts val="600"/>
        </a:spcBef>
        <a:spcAft>
          <a:spcPts val="167"/>
        </a:spcAft>
        <a:buClr>
          <a:srgbClr val="54596A"/>
        </a:buClr>
        <a:buFont typeface="Arial" panose="020B0604020202020204" pitchFamily="34" charset="0"/>
        <a:buChar char="•"/>
        <a:tabLst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Arial" panose="020B0604020202020204" pitchFamily="34" charset="0"/>
        </a:defRPr>
      </a:lvl4pPr>
      <a:lvl5pPr marL="1619380" indent="-157881" algn="l" defTabSz="914473" rtl="0" eaLnBrk="1" latinLnBrk="0" hangingPunct="1">
        <a:lnSpc>
          <a:spcPct val="100000"/>
        </a:lnSpc>
        <a:spcBef>
          <a:spcPts val="600"/>
        </a:spcBef>
        <a:spcAft>
          <a:spcPts val="167"/>
        </a:spcAft>
        <a:buClr>
          <a:srgbClr val="54596A"/>
        </a:buClr>
        <a:buSzPct val="100000"/>
        <a:buFont typeface="Arial" panose="020B0604020202020204" pitchFamily="34" charset="0"/>
        <a:buChar char="•"/>
        <a:tabLst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Arial" panose="020B0604020202020204" pitchFamily="34" charset="0"/>
        </a:defRPr>
      </a:lvl5pPr>
      <a:lvl6pPr marL="2514801" indent="-228618" algn="l" defTabSz="91447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038" indent="-228618" algn="l" defTabSz="91447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274" indent="-228618" algn="l" defTabSz="91447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511" indent="-228618" algn="l" defTabSz="91447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37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73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10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46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83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419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656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893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642748A-F8A2-E345-87CE-CB84E4E40E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1424891889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7772400" imgH="10058400" progId="TCLayout.ActiveDocument.1">
                  <p:embed/>
                </p:oleObj>
              </mc:Choice>
              <mc:Fallback>
                <p:oleObj name="think-cell Slide" r:id="rId38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642748A-F8A2-E345-87CE-CB84E4E40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197C260-30B1-8F47-A437-ED77871AF722}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Roboto Condensed Light" panose="02000000000000000000" pitchFamily="2" charset="0"/>
              <a:ea typeface="+mj-ea"/>
              <a:sym typeface="Roboto Condensed Light" panose="02000000000000000000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3AE0739-6272-2B4D-AECB-A6CE172C53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107440"/>
          </a:xfrm>
          <a:prstGeom prst="rect">
            <a:avLst/>
          </a:prstGeom>
        </p:spPr>
        <p:txBody>
          <a:bodyPr vert="horz" lIns="274320" tIns="0" rIns="274320" bIns="0" rtlCol="0" anchor="ctr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C06248-BB75-4E4A-BFE3-4A39C78CA8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2919" y="1179320"/>
            <a:ext cx="11566164" cy="5177029"/>
          </a:xfrm>
          <a:prstGeom prst="rect">
            <a:avLst/>
          </a:prstGeom>
        </p:spPr>
        <p:txBody>
          <a:bodyPr vert="horz" lIns="274320" tIns="274320" rIns="274320" bIns="2743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FB3C8892-2B71-4367-59EB-BC471AF70F29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85500" y="6323455"/>
            <a:ext cx="1092200" cy="409575"/>
          </a:xfrm>
          <a:prstGeom prst="rect">
            <a:avLst/>
          </a:prstGeom>
        </p:spPr>
      </p:pic>
    </p:spTree>
    <p:custDataLst>
      <p:tags r:id="rId35"/>
    </p:custDataLst>
    <p:extLst>
      <p:ext uri="{BB962C8B-B14F-4D97-AF65-F5344CB8AC3E}">
        <p14:creationId xmlns:p14="http://schemas.microsoft.com/office/powerpoint/2010/main" val="18064237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59" r:id="rId1"/>
    <p:sldLayoutId id="2147485760" r:id="rId2"/>
    <p:sldLayoutId id="2147485740" r:id="rId3"/>
    <p:sldLayoutId id="2147485742" r:id="rId4"/>
    <p:sldLayoutId id="2147485761" r:id="rId5"/>
    <p:sldLayoutId id="2147485728" r:id="rId6"/>
    <p:sldLayoutId id="2147485745" r:id="rId7"/>
    <p:sldLayoutId id="2147485747" r:id="rId8"/>
    <p:sldLayoutId id="2147485746" r:id="rId9"/>
    <p:sldLayoutId id="2147485748" r:id="rId10"/>
    <p:sldLayoutId id="2147485749" r:id="rId11"/>
    <p:sldLayoutId id="2147485755" r:id="rId12"/>
    <p:sldLayoutId id="2147485756" r:id="rId13"/>
    <p:sldLayoutId id="2147485738" r:id="rId14"/>
    <p:sldLayoutId id="2147485739" r:id="rId15"/>
    <p:sldLayoutId id="2147485726" r:id="rId16"/>
    <p:sldLayoutId id="2147485725" r:id="rId17"/>
    <p:sldLayoutId id="2147485727" r:id="rId18"/>
    <p:sldLayoutId id="2147485743" r:id="rId19"/>
    <p:sldLayoutId id="2147485729" r:id="rId20"/>
    <p:sldLayoutId id="2147485730" r:id="rId21"/>
    <p:sldLayoutId id="2147485731" r:id="rId22"/>
    <p:sldLayoutId id="2147485732" r:id="rId23"/>
    <p:sldLayoutId id="2147485733" r:id="rId24"/>
    <p:sldLayoutId id="2147485744" r:id="rId25"/>
    <p:sldLayoutId id="2147485735" r:id="rId26"/>
    <p:sldLayoutId id="2147485736" r:id="rId27"/>
    <p:sldLayoutId id="2147485750" r:id="rId28"/>
    <p:sldLayoutId id="2147485757" r:id="rId29"/>
    <p:sldLayoutId id="2147485741" r:id="rId30"/>
    <p:sldLayoutId id="2147485737" r:id="rId31"/>
    <p:sldLayoutId id="2147485751" r:id="rId32"/>
    <p:sldLayoutId id="2147485752" r:id="rId33"/>
  </p:sldLayoutIdLst>
  <p:txStyles>
    <p:titleStyle>
      <a:lvl1pPr marL="254020" algn="l" defTabSz="914473" rtl="0" eaLnBrk="1" latinLnBrk="0" hangingPunct="1">
        <a:lnSpc>
          <a:spcPct val="100000"/>
        </a:lnSpc>
        <a:spcBef>
          <a:spcPct val="0"/>
        </a:spcBef>
        <a:buNone/>
        <a:defRPr lang="en-US" sz="4000" b="0" i="0" kern="1200" cap="none" baseline="0" dirty="0">
          <a:solidFill>
            <a:schemeClr val="tx1">
              <a:lumMod val="65000"/>
              <a:lumOff val="35000"/>
            </a:schemeClr>
          </a:solidFill>
          <a:latin typeface="Roboto Light" panose="02000000000000000000" pitchFamily="2" charset="0"/>
          <a:ea typeface="Roboto Light" panose="02000000000000000000" pitchFamily="2" charset="0"/>
          <a:cs typeface="Arial" panose="020B0604020202020204" pitchFamily="34" charset="0"/>
        </a:defRPr>
      </a:lvl1pPr>
    </p:titleStyle>
    <p:bodyStyle>
      <a:lvl1pPr marL="165113" indent="-152412" algn="l" defTabSz="914473" rtl="0" eaLnBrk="1" latinLnBrk="0" hangingPunct="1">
        <a:lnSpc>
          <a:spcPct val="100000"/>
        </a:lnSpc>
        <a:spcBef>
          <a:spcPts val="600"/>
        </a:spcBef>
        <a:spcAft>
          <a:spcPts val="167"/>
        </a:spcAft>
        <a:buFont typeface="Arial" panose="020B0604020202020204" pitchFamily="34" charset="0"/>
        <a:buChar char="•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Arial" panose="020B0604020202020204" pitchFamily="34" charset="0"/>
        </a:defRPr>
      </a:lvl1pPr>
      <a:lvl2pPr marL="318408" indent="159645" algn="l" defTabSz="914473" rtl="0" eaLnBrk="1" latinLnBrk="0" hangingPunct="1">
        <a:lnSpc>
          <a:spcPct val="100000"/>
        </a:lnSpc>
        <a:spcBef>
          <a:spcPts val="600"/>
        </a:spcBef>
        <a:spcAft>
          <a:spcPts val="167"/>
        </a:spcAft>
        <a:buClr>
          <a:srgbClr val="54596A"/>
        </a:buClr>
        <a:buFont typeface="Arial" panose="020B0604020202020204" pitchFamily="34" charset="0"/>
        <a:buChar char="•"/>
        <a:tabLst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Arial" panose="020B0604020202020204" pitchFamily="34" charset="0"/>
        </a:defRPr>
      </a:lvl2pPr>
      <a:lvl3pPr marL="766471" indent="-128774" algn="l" defTabSz="2032163" rtl="0" eaLnBrk="1" latinLnBrk="0" hangingPunct="1">
        <a:lnSpc>
          <a:spcPct val="100000"/>
        </a:lnSpc>
        <a:spcBef>
          <a:spcPts val="600"/>
        </a:spcBef>
        <a:spcAft>
          <a:spcPts val="167"/>
        </a:spcAft>
        <a:buClr>
          <a:srgbClr val="54596A"/>
        </a:buClr>
        <a:buSzPct val="100000"/>
        <a:buFont typeface="Arial" panose="020B0604020202020204" pitchFamily="34" charset="0"/>
        <a:buChar char="•"/>
        <a:tabLst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Arial" panose="020B0604020202020204" pitchFamily="34" charset="0"/>
        </a:defRPr>
      </a:lvl3pPr>
      <a:lvl4pPr marL="1116631" indent="-159645" algn="l" defTabSz="914473" rtl="0" eaLnBrk="1" latinLnBrk="0" hangingPunct="1">
        <a:lnSpc>
          <a:spcPct val="100000"/>
        </a:lnSpc>
        <a:spcBef>
          <a:spcPts val="600"/>
        </a:spcBef>
        <a:spcAft>
          <a:spcPts val="167"/>
        </a:spcAft>
        <a:buClr>
          <a:srgbClr val="54596A"/>
        </a:buClr>
        <a:buFont typeface="Arial" panose="020B0604020202020204" pitchFamily="34" charset="0"/>
        <a:buChar char="•"/>
        <a:tabLst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Arial" panose="020B0604020202020204" pitchFamily="34" charset="0"/>
        </a:defRPr>
      </a:lvl4pPr>
      <a:lvl5pPr marL="1428864" indent="-158763" algn="l" defTabSz="914473" rtl="0" eaLnBrk="1" latinLnBrk="0" hangingPunct="1">
        <a:lnSpc>
          <a:spcPct val="100000"/>
        </a:lnSpc>
        <a:spcBef>
          <a:spcPts val="600"/>
        </a:spcBef>
        <a:spcAft>
          <a:spcPts val="167"/>
        </a:spcAft>
        <a:buClr>
          <a:srgbClr val="54596A"/>
        </a:buClr>
        <a:buSzPct val="100000"/>
        <a:buFont typeface="Arial" panose="020B0604020202020204" pitchFamily="34" charset="0"/>
        <a:buChar char="•"/>
        <a:tabLst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Arial" panose="020B0604020202020204" pitchFamily="34" charset="0"/>
        </a:defRPr>
      </a:lvl5pPr>
      <a:lvl6pPr marL="2514801" indent="-228618" algn="l" defTabSz="91447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038" indent="-228618" algn="l" defTabSz="91447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274" indent="-228618" algn="l" defTabSz="91447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511" indent="-228618" algn="l" defTabSz="91447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37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73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10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46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83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419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656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893" algn="l" defTabSz="9144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CF74C4-89B7-BBC7-AD26-BCF1162E89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7435" y="3429000"/>
            <a:ext cx="6455327" cy="1107440"/>
          </a:xfrm>
        </p:spPr>
        <p:txBody>
          <a:bodyPr/>
          <a:lstStyle/>
          <a:p>
            <a:pPr marL="0">
              <a:lnSpc>
                <a:spcPts val="4200"/>
              </a:lnSpc>
            </a:pPr>
            <a:r>
              <a:rPr lang="en-US" sz="4400" dirty="0">
                <a:latin typeface="Roboto Light"/>
                <a:ea typeface="Roboto Light"/>
                <a:cs typeface="Arial"/>
              </a:rPr>
              <a:t>Network Security Evaluation</a:t>
            </a:r>
            <a:endParaRPr lang="en-US" sz="4400" dirty="0"/>
          </a:p>
        </p:txBody>
      </p:sp>
    </p:spTree>
    <p:extLst>
      <p:ext uri="{BB962C8B-B14F-4D97-AF65-F5344CB8AC3E}">
        <p14:creationId xmlns:p14="http://schemas.microsoft.com/office/powerpoint/2010/main" val="30296980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729EF8AC-E968-E747-4960-2ED4889F685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r>
              <a:rPr lang="en-US" dirty="0"/>
              <a:t>Why Us?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04E39FD6-C321-E180-3298-34B64B480D2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r>
              <a:rPr lang="en-US" dirty="0"/>
              <a:t>Q&amp;A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B074D99A-9FDE-91A7-AECD-0F9AB8080B54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2303286-FD4A-7284-84A8-F867B8F045B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581B07DE-28B5-41A8-19B8-80F6F626427E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/>
        <p:txBody>
          <a:bodyPr/>
          <a:lstStyle/>
          <a:p>
            <a:r>
              <a:rPr lang="en-US" dirty="0"/>
              <a:t>How It Works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6352D205-FD68-75D4-3674-208BA462D22C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r>
              <a:rPr lang="en-US" dirty="0"/>
              <a:t>Report Content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110FEC7E-9019-7521-FF33-B476B541A431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0D219308-8BE6-DD11-FD3B-F34BCB242AF5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635384CE-BEFC-B6BF-419B-13AC85967208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r>
              <a:rPr lang="en-US">
                <a:ea typeface="Roboto Black"/>
                <a:cs typeface="Roboto Black"/>
              </a:rPr>
              <a:t>What Is It?</a:t>
            </a:r>
            <a:endParaRPr lang="en-US" dirty="0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0011A99A-25A7-AC2E-FFBA-4A9A6F1BBB5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US" dirty="0"/>
              <a:t>Benefits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A3617F8B-0986-24E0-698D-1A751937D7EC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58C01AB2-7702-B053-9348-DE05D5B057F0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04471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marL="254000"/>
            <a:br>
              <a:rPr lang="en-US" sz="4400">
                <a:latin typeface="Roboto Light"/>
                <a:ea typeface="Roboto Light"/>
                <a:cs typeface="Roboto Light"/>
              </a:rPr>
            </a:br>
            <a:r>
              <a:rPr lang="en-US" sz="4400">
                <a:latin typeface="Roboto Light"/>
                <a:ea typeface="Roboto Light"/>
                <a:cs typeface="Roboto Light"/>
              </a:rPr>
              <a:t>Network Security Evaluation</a:t>
            </a:r>
            <a:endParaRPr lang="en-US"/>
          </a:p>
          <a:p>
            <a:pPr marL="254000"/>
            <a:endParaRPr lang="en-US" dirty="0">
              <a:latin typeface="Roboto Light"/>
              <a:ea typeface="Roboto Light"/>
            </a:endParaRP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954A78F2-344F-AE43-B539-3B40C1D67FDD}"/>
              </a:ext>
            </a:extLst>
          </p:cNvPr>
          <p:cNvSpPr txBox="1">
            <a:spLocks/>
          </p:cNvSpPr>
          <p:nvPr/>
        </p:nvSpPr>
        <p:spPr>
          <a:xfrm>
            <a:off x="3931558" y="3636875"/>
            <a:ext cx="2166808" cy="1163035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182880" indent="-182880" algn="l" defTabSz="685800" rtl="0" eaLnBrk="1" latinLnBrk="0" hangingPunct="1">
              <a:lnSpc>
                <a:spcPts val="2600"/>
              </a:lnSpc>
              <a:spcBef>
                <a:spcPts val="1000"/>
              </a:spcBef>
              <a:buClr>
                <a:srgbClr val="23A3DD"/>
              </a:buClr>
              <a:buFont typeface="Arial" panose="020B0604020202020204" pitchFamily="34" charset="0"/>
              <a:buChar char="•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1pPr>
            <a:lvl2pPr marL="402336" indent="-18288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23A3DD"/>
              </a:buClr>
              <a:buSzPct val="70000"/>
              <a:buFont typeface="System Font Regular"/>
              <a:buChar char="–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2000" b="0" i="0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/>
              <a:t>No cost or risk to you or your customers </a:t>
            </a:r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F1630680-E6D6-5A45-98E9-22A010E0EFAC}"/>
              </a:ext>
            </a:extLst>
          </p:cNvPr>
          <p:cNvSpPr txBox="1">
            <a:spLocks/>
          </p:cNvSpPr>
          <p:nvPr/>
        </p:nvSpPr>
        <p:spPr>
          <a:xfrm>
            <a:off x="9415593" y="3636875"/>
            <a:ext cx="1861459" cy="1308711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182880" indent="-182880" algn="l" defTabSz="685800" rtl="0" eaLnBrk="1" latinLnBrk="0" hangingPunct="1">
              <a:lnSpc>
                <a:spcPts val="2600"/>
              </a:lnSpc>
              <a:spcBef>
                <a:spcPts val="1000"/>
              </a:spcBef>
              <a:buClr>
                <a:srgbClr val="23A3DD"/>
              </a:buClr>
              <a:buFont typeface="Arial" panose="020B0604020202020204" pitchFamily="34" charset="0"/>
              <a:buChar char="•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1pPr>
            <a:lvl2pPr marL="402336" indent="-18288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23A3DD"/>
              </a:buClr>
              <a:buSzPct val="70000"/>
              <a:buFont typeface="System Font Regular"/>
              <a:buChar char="–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2000" b="0" i="0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/>
              <a:t>Done in a week or less</a:t>
            </a:r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FAC6E021-C606-E343-8CE1-9552D246FC0C}"/>
              </a:ext>
            </a:extLst>
          </p:cNvPr>
          <p:cNvSpPr txBox="1">
            <a:spLocks/>
          </p:cNvSpPr>
          <p:nvPr/>
        </p:nvSpPr>
        <p:spPr>
          <a:xfrm>
            <a:off x="6440889" y="3636875"/>
            <a:ext cx="2634892" cy="1163035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182880" indent="-182880" algn="l" defTabSz="685800" rtl="0" eaLnBrk="1" latinLnBrk="0" hangingPunct="1">
              <a:lnSpc>
                <a:spcPts val="2600"/>
              </a:lnSpc>
              <a:spcBef>
                <a:spcPts val="1000"/>
              </a:spcBef>
              <a:buClr>
                <a:srgbClr val="23A3DD"/>
              </a:buClr>
              <a:buFont typeface="Arial" panose="020B0604020202020204" pitchFamily="34" charset="0"/>
              <a:buChar char="•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1pPr>
            <a:lvl2pPr marL="402336" indent="-18288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23A3DD"/>
              </a:buClr>
              <a:buSzPct val="70000"/>
              <a:buFont typeface="System Font Regular"/>
              <a:buChar char="–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2000" b="0" i="0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/>
              <a:t>Requires</a:t>
            </a:r>
            <a:br>
              <a:rPr lang="en-US" dirty="0"/>
            </a:br>
            <a:r>
              <a:rPr lang="en-US" dirty="0"/>
              <a:t>less than</a:t>
            </a:r>
            <a:br>
              <a:rPr lang="en-US" dirty="0"/>
            </a:br>
            <a:r>
              <a:rPr lang="en-US" dirty="0"/>
              <a:t>30 minutes of customer time</a:t>
            </a:r>
          </a:p>
        </p:txBody>
      </p:sp>
      <p:pic>
        <p:nvPicPr>
          <p:cNvPr id="14" name="Picture 13" descr="Icon&#10;&#10;Description automatically generated">
            <a:extLst>
              <a:ext uri="{FF2B5EF4-FFF2-40B4-BE49-F238E27FC236}">
                <a16:creationId xmlns:a16="http://schemas.microsoft.com/office/drawing/2014/main" id="{8EE0811D-03C5-5E4C-9350-DF11476948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2319" y="1746367"/>
            <a:ext cx="1830705" cy="1830705"/>
          </a:xfrm>
          <a:prstGeom prst="rect">
            <a:avLst/>
          </a:prstGeom>
        </p:spPr>
      </p:pic>
      <p:pic>
        <p:nvPicPr>
          <p:cNvPr id="16" name="Picture 15" descr="Icon&#10;&#10;Description automatically generated">
            <a:extLst>
              <a:ext uri="{FF2B5EF4-FFF2-40B4-BE49-F238E27FC236}">
                <a16:creationId xmlns:a16="http://schemas.microsoft.com/office/drawing/2014/main" id="{34372EF6-F959-FD45-AD4B-B5B0C45189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62074" y="1598295"/>
            <a:ext cx="1830705" cy="1830705"/>
          </a:xfrm>
          <a:prstGeom prst="rect">
            <a:avLst/>
          </a:prstGeom>
        </p:spPr>
      </p:pic>
      <p:pic>
        <p:nvPicPr>
          <p:cNvPr id="7" name="Picture 6" descr="A picture containing text&#10;&#10;Description automatically generated">
            <a:extLst>
              <a:ext uri="{FF2B5EF4-FFF2-40B4-BE49-F238E27FC236}">
                <a16:creationId xmlns:a16="http://schemas.microsoft.com/office/drawing/2014/main" id="{41DA486D-CF55-C44A-A35B-8E84DCA2BDB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7199" y="1949666"/>
            <a:ext cx="1889760" cy="1463040"/>
          </a:xfrm>
          <a:prstGeom prst="rect">
            <a:avLst/>
          </a:prstGeom>
        </p:spPr>
      </p:pic>
      <p:pic>
        <p:nvPicPr>
          <p:cNvPr id="11" name="Picture 10" descr="Logo, icon&#10;&#10;Description automatically generated">
            <a:extLst>
              <a:ext uri="{FF2B5EF4-FFF2-40B4-BE49-F238E27FC236}">
                <a16:creationId xmlns:a16="http://schemas.microsoft.com/office/drawing/2014/main" id="{924F0B02-E76E-CC40-B5C2-323B56E31DF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43527" y="1785560"/>
            <a:ext cx="1830705" cy="1830705"/>
          </a:xfrm>
          <a:prstGeom prst="rect">
            <a:avLst/>
          </a:prstGeom>
        </p:spPr>
      </p:pic>
      <p:sp>
        <p:nvSpPr>
          <p:cNvPr id="18" name="Content Placeholder 1">
            <a:extLst>
              <a:ext uri="{FF2B5EF4-FFF2-40B4-BE49-F238E27FC236}">
                <a16:creationId xmlns:a16="http://schemas.microsoft.com/office/drawing/2014/main" id="{40085009-ED5F-3C1A-109F-0AF1EF750869}"/>
              </a:ext>
            </a:extLst>
          </p:cNvPr>
          <p:cNvSpPr txBox="1">
            <a:spLocks/>
          </p:cNvSpPr>
          <p:nvPr/>
        </p:nvSpPr>
        <p:spPr>
          <a:xfrm>
            <a:off x="486048" y="3636875"/>
            <a:ext cx="2915023" cy="1163035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182880" indent="-182880" algn="l" defTabSz="685800" rtl="0" eaLnBrk="1" latinLnBrk="0" hangingPunct="1">
              <a:lnSpc>
                <a:spcPts val="2600"/>
              </a:lnSpc>
              <a:spcBef>
                <a:spcPts val="1000"/>
              </a:spcBef>
              <a:buClr>
                <a:srgbClr val="23A3DD"/>
              </a:buClr>
              <a:buFont typeface="Arial" panose="020B0604020202020204" pitchFamily="34" charset="0"/>
              <a:buChar char="•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1pPr>
            <a:lvl2pPr marL="402336" indent="-18288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23A3DD"/>
              </a:buClr>
              <a:buSzPct val="70000"/>
              <a:buFont typeface="System Font Regular"/>
              <a:buChar char="–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2000" b="0" i="0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/>
              <a:t>Report on status of your security, productivity, and utilization</a:t>
            </a:r>
          </a:p>
        </p:txBody>
      </p:sp>
    </p:spTree>
    <p:extLst>
      <p:ext uri="{BB962C8B-B14F-4D97-AF65-F5344CB8AC3E}">
        <p14:creationId xmlns:p14="http://schemas.microsoft.com/office/powerpoint/2010/main" val="38753344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Benefits</a:t>
            </a:r>
            <a:endParaRPr lang="en-US" dirty="0">
              <a:latin typeface="Roboto Condensed Light"/>
              <a:ea typeface="Roboto Condensed Light"/>
            </a:endParaRPr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CF426C53-147B-787A-5DCE-10AB78DBE52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8" b="148"/>
          <a:stretch>
            <a:fillRect/>
          </a:stretch>
        </p:blipFill>
        <p:spPr/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FCAB718-3209-542B-CF15-6EAEA5EF15A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821538" y="1671091"/>
            <a:ext cx="4925524" cy="4002830"/>
          </a:xfrm>
        </p:spPr>
        <p:txBody>
          <a:bodyPr/>
          <a:lstStyle/>
          <a:p>
            <a:pPr marL="228600" indent="-228600">
              <a:buFont typeface="Arial" panose="020B0604020202020204" pitchFamily="34" charset="0"/>
              <a:buChar char="•"/>
            </a:pPr>
            <a:r>
              <a:rPr lang="en-US" sz="2000" dirty="0">
                <a:latin typeface="+mn-lt"/>
              </a:rPr>
              <a:t>Get an in-depth view of the current state of your network</a:t>
            </a:r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sz="2000" dirty="0">
                <a:latin typeface="+mn-lt"/>
              </a:rPr>
              <a:t>See if your current security infrastructure can accurately detect today’s sophisticated attacks</a:t>
            </a:r>
          </a:p>
          <a:p>
            <a:pPr marL="228600" lvl="0" indent="-228600">
              <a:buFont typeface="Arial" panose="020B0604020202020204" pitchFamily="34" charset="0"/>
              <a:buChar char="•"/>
            </a:pPr>
            <a:r>
              <a:rPr lang="en-US" sz="2000" dirty="0">
                <a:latin typeface="+mn-lt"/>
              </a:rPr>
              <a:t>See how apps (traditional and web-based) are truly being utilized on your network</a:t>
            </a:r>
          </a:p>
          <a:p>
            <a:pPr marL="228600" lvl="0" indent="-2286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latin typeface="+mn-lt"/>
              </a:rPr>
              <a:t>See if your current security solution will be able to meet increased throughput and encryption demands</a:t>
            </a:r>
          </a:p>
        </p:txBody>
      </p:sp>
      <p:pic>
        <p:nvPicPr>
          <p:cNvPr id="5" name="Picture 4" descr="Graphical user interface, icon&#10;&#10;Description automatically generated">
            <a:extLst>
              <a:ext uri="{FF2B5EF4-FFF2-40B4-BE49-F238E27FC236}">
                <a16:creationId xmlns:a16="http://schemas.microsoft.com/office/drawing/2014/main" id="{30A23560-A4A2-3841-9E1B-B16C2553162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5845" y="1843706"/>
            <a:ext cx="5143500" cy="365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97092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it works</a:t>
            </a:r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3EC4F8DD-C115-3941-9E3C-E485A68333B9}"/>
              </a:ext>
            </a:extLst>
          </p:cNvPr>
          <p:cNvSpPr txBox="1">
            <a:spLocks/>
          </p:cNvSpPr>
          <p:nvPr/>
        </p:nvSpPr>
        <p:spPr>
          <a:xfrm>
            <a:off x="431425" y="3209995"/>
            <a:ext cx="2699158" cy="810269"/>
          </a:xfrm>
          <a:prstGeom prst="rect">
            <a:avLst/>
          </a:prstGeom>
        </p:spPr>
        <p:txBody>
          <a:bodyPr vert="horz" lIns="121920" tIns="60960" rIns="121920" bIns="60960" rtlCol="0" anchor="t">
            <a:noAutofit/>
          </a:bodyPr>
          <a:lstStyle>
            <a:lvl1pPr marL="182880" indent="-182880" algn="l" defTabSz="685800" rtl="0" eaLnBrk="1" latinLnBrk="0" hangingPunct="1">
              <a:lnSpc>
                <a:spcPts val="2600"/>
              </a:lnSpc>
              <a:spcBef>
                <a:spcPts val="1000"/>
              </a:spcBef>
              <a:buClr>
                <a:srgbClr val="23A3DD"/>
              </a:buClr>
              <a:buFont typeface="Arial" panose="020B0604020202020204" pitchFamily="34" charset="0"/>
              <a:buChar char="•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1pPr>
            <a:lvl2pPr marL="402336" indent="-18288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23A3DD"/>
              </a:buClr>
              <a:buSzPct val="70000"/>
              <a:buFont typeface="System Font Regular"/>
              <a:buChar char="–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2000" b="0" i="0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ts val="2667"/>
              </a:lnSpc>
              <a:buNone/>
            </a:pPr>
            <a:r>
              <a:rPr lang="en-US" dirty="0">
                <a:latin typeface="Roboto Light"/>
                <a:ea typeface="Roboto Light"/>
                <a:cs typeface="Roboto Light"/>
              </a:rPr>
              <a:t>Install the device at your site</a:t>
            </a:r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7A3D25F3-6458-2A43-BA66-825CBFEE5225}"/>
              </a:ext>
            </a:extLst>
          </p:cNvPr>
          <p:cNvSpPr txBox="1">
            <a:spLocks/>
          </p:cNvSpPr>
          <p:nvPr/>
        </p:nvSpPr>
        <p:spPr>
          <a:xfrm>
            <a:off x="3503242" y="3209994"/>
            <a:ext cx="2699159" cy="1248483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182880" indent="-182880" algn="l" defTabSz="685800" rtl="0" eaLnBrk="1" latinLnBrk="0" hangingPunct="1">
              <a:lnSpc>
                <a:spcPts val="2600"/>
              </a:lnSpc>
              <a:spcBef>
                <a:spcPts val="1000"/>
              </a:spcBef>
              <a:buClr>
                <a:srgbClr val="23A3DD"/>
              </a:buClr>
              <a:buFont typeface="Arial" panose="020B0604020202020204" pitchFamily="34" charset="0"/>
              <a:buChar char="•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1pPr>
            <a:lvl2pPr marL="402336" indent="-18288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23A3DD"/>
              </a:buClr>
              <a:buSzPct val="70000"/>
              <a:buFont typeface="System Font Regular"/>
              <a:buChar char="–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2000" b="0" i="0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ts val="2667"/>
              </a:lnSpc>
              <a:buNone/>
            </a:pPr>
            <a:r>
              <a:rPr lang="en-US" dirty="0"/>
              <a:t>Monitor traffic logs for 3 to 7 business days</a:t>
            </a:r>
          </a:p>
        </p:txBody>
      </p:sp>
      <p:pic>
        <p:nvPicPr>
          <p:cNvPr id="10" name="Picture 9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902A14F2-E178-8740-9093-2F4C8CB76F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8590" y="1021182"/>
            <a:ext cx="1984828" cy="1984828"/>
          </a:xfrm>
          <a:prstGeom prst="rect">
            <a:avLst/>
          </a:prstGeom>
        </p:spPr>
      </p:pic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1236D71D-6CA3-7545-A24C-C205B46736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64456" y="975946"/>
            <a:ext cx="1984827" cy="1984827"/>
          </a:xfrm>
          <a:prstGeom prst="rect">
            <a:avLst/>
          </a:prstGeom>
        </p:spPr>
      </p:pic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0FE55C8B-E8A6-4947-A808-CC8F97DF8E04}"/>
              </a:ext>
            </a:extLst>
          </p:cNvPr>
          <p:cNvSpPr txBox="1">
            <a:spLocks/>
          </p:cNvSpPr>
          <p:nvPr/>
        </p:nvSpPr>
        <p:spPr>
          <a:xfrm>
            <a:off x="6530200" y="3209995"/>
            <a:ext cx="2195956" cy="810269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182880" indent="-182880" algn="l" defTabSz="685800" rtl="0" eaLnBrk="1" latinLnBrk="0" hangingPunct="1">
              <a:lnSpc>
                <a:spcPts val="2600"/>
              </a:lnSpc>
              <a:spcBef>
                <a:spcPts val="1000"/>
              </a:spcBef>
              <a:buClr>
                <a:srgbClr val="23A3DD"/>
              </a:buClr>
              <a:buFont typeface="Arial" panose="020B0604020202020204" pitchFamily="34" charset="0"/>
              <a:buChar char="•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1pPr>
            <a:lvl2pPr marL="402336" indent="-18288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23A3DD"/>
              </a:buClr>
              <a:buSzPct val="70000"/>
              <a:buFont typeface="System Font Regular"/>
              <a:buChar char="–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2000" b="0" i="0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ts val="2667"/>
              </a:lnSpc>
              <a:buNone/>
            </a:pPr>
            <a:r>
              <a:rPr lang="en-US" dirty="0"/>
              <a:t>Generate report </a:t>
            </a:r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DDE1CD41-C8D2-2D4C-9381-F7219AD7388F}"/>
              </a:ext>
            </a:extLst>
          </p:cNvPr>
          <p:cNvSpPr txBox="1">
            <a:spLocks/>
          </p:cNvSpPr>
          <p:nvPr/>
        </p:nvSpPr>
        <p:spPr>
          <a:xfrm>
            <a:off x="9250564" y="3209995"/>
            <a:ext cx="2510011" cy="810269"/>
          </a:xfrm>
          <a:prstGeom prst="rect">
            <a:avLst/>
          </a:prstGeom>
        </p:spPr>
        <p:txBody>
          <a:bodyPr vert="horz" lIns="121920" tIns="60960" rIns="121920" bIns="60960" rtlCol="0" anchor="t">
            <a:noAutofit/>
          </a:bodyPr>
          <a:lstStyle>
            <a:lvl1pPr marL="182880" indent="-182880" algn="l" defTabSz="685800" rtl="0" eaLnBrk="1" latinLnBrk="0" hangingPunct="1">
              <a:lnSpc>
                <a:spcPts val="2600"/>
              </a:lnSpc>
              <a:spcBef>
                <a:spcPts val="1000"/>
              </a:spcBef>
              <a:buClr>
                <a:srgbClr val="23A3DD"/>
              </a:buClr>
              <a:buFont typeface="Arial" panose="020B0604020202020204" pitchFamily="34" charset="0"/>
              <a:buChar char="•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1pPr>
            <a:lvl2pPr marL="402336" indent="-18288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23A3DD"/>
              </a:buClr>
              <a:buSzPct val="70000"/>
              <a:buFont typeface="System Font Regular"/>
              <a:buChar char="–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2000" b="0" i="0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ts val="2667"/>
              </a:lnSpc>
              <a:buNone/>
            </a:pPr>
            <a:r>
              <a:rPr lang="en-US" dirty="0">
                <a:latin typeface="Roboto Light"/>
                <a:ea typeface="Roboto Light"/>
                <a:cs typeface="Roboto Light"/>
              </a:rPr>
              <a:t>Discuss findings and retrieve the device </a:t>
            </a:r>
            <a:endParaRPr lang="en-US" dirty="0"/>
          </a:p>
        </p:txBody>
      </p:sp>
      <p:pic>
        <p:nvPicPr>
          <p:cNvPr id="16" name="Picture 15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A142A087-0DEC-D54A-8248-9B66F88FDFB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35766" y="975947"/>
            <a:ext cx="1984825" cy="1984825"/>
          </a:xfrm>
          <a:prstGeom prst="rect">
            <a:avLst/>
          </a:prstGeom>
        </p:spPr>
      </p:pic>
      <p:pic>
        <p:nvPicPr>
          <p:cNvPr id="18" name="Picture 17" descr="Icon&#10;&#10;Description automatically generated">
            <a:extLst>
              <a:ext uri="{FF2B5EF4-FFF2-40B4-BE49-F238E27FC236}">
                <a16:creationId xmlns:a16="http://schemas.microsoft.com/office/drawing/2014/main" id="{7DFAB1D4-63E1-0442-8ED9-EC78EA1E93F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13156" y="1021185"/>
            <a:ext cx="1984825" cy="1984825"/>
          </a:xfrm>
          <a:prstGeom prst="rect">
            <a:avLst/>
          </a:prstGeom>
        </p:spPr>
      </p:pic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03C8806D-6902-BF35-B51C-2D6981F0190B}"/>
              </a:ext>
            </a:extLst>
          </p:cNvPr>
          <p:cNvSpPr txBox="1">
            <a:spLocks/>
          </p:cNvSpPr>
          <p:nvPr/>
        </p:nvSpPr>
        <p:spPr>
          <a:xfrm>
            <a:off x="0" y="4883686"/>
            <a:ext cx="12192000" cy="1974314"/>
          </a:xfrm>
          <a:prstGeom prst="rect">
            <a:avLst/>
          </a:prstGeom>
          <a:solidFill>
            <a:srgbClr val="007AC3"/>
          </a:solidFill>
        </p:spPr>
        <p:txBody>
          <a:bodyPr tIns="0" bIns="0" anchor="ctr"/>
          <a:lstStyle>
            <a:lvl1pPr marL="12701" indent="0" algn="ctr" defTabSz="91447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318408" indent="159645" algn="l" defTabSz="914473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67"/>
              </a:spcAft>
              <a:buClr>
                <a:srgbClr val="54596A"/>
              </a:buClr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766471" indent="-128774" algn="l" defTabSz="2032163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67"/>
              </a:spcAft>
              <a:buClr>
                <a:srgbClr val="54596A"/>
              </a:buClr>
              <a:buSzPct val="100000"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116631" indent="-159645" algn="l" defTabSz="914473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67"/>
              </a:spcAft>
              <a:buClr>
                <a:srgbClr val="54596A"/>
              </a:buClr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428864" indent="-158763" algn="l" defTabSz="914473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67"/>
              </a:spcAft>
              <a:buClr>
                <a:srgbClr val="54596A"/>
              </a:buClr>
              <a:buSzPct val="100000"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801" indent="-228618" algn="l" defTabSz="91447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038" indent="-228618" algn="l" defTabSz="91447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274" indent="-228618" algn="l" defTabSz="91447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511" indent="-228618" algn="l" defTabSz="91447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6E3FDA6A-EE4C-E628-5FCC-13FAA2FCBB0A}"/>
              </a:ext>
            </a:extLst>
          </p:cNvPr>
          <p:cNvSpPr txBox="1">
            <a:spLocks/>
          </p:cNvSpPr>
          <p:nvPr/>
        </p:nvSpPr>
        <p:spPr>
          <a:xfrm>
            <a:off x="0" y="4738172"/>
            <a:ext cx="12192000" cy="291028"/>
          </a:xfrm>
          <a:prstGeom prst="rect">
            <a:avLst/>
          </a:prstGeom>
          <a:solidFill>
            <a:srgbClr val="6FC055"/>
          </a:solidFill>
        </p:spPr>
        <p:txBody>
          <a:bodyPr tIns="0" bIns="0" anchor="ctr"/>
          <a:lstStyle>
            <a:lvl1pPr marL="12701" indent="0" algn="ctr" defTabSz="91447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bg1"/>
                </a:solidFill>
                <a:latin typeface="Oswald" pitchFamily="2" charset="0"/>
                <a:ea typeface="+mn-ea"/>
                <a:cs typeface="Arial" panose="020B0604020202020204" pitchFamily="34" charset="0"/>
              </a:defRPr>
            </a:lvl1pPr>
            <a:lvl2pPr marL="318408" indent="159645" algn="l" defTabSz="914473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67"/>
              </a:spcAft>
              <a:buClr>
                <a:srgbClr val="54596A"/>
              </a:buClr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766471" indent="-128774" algn="l" defTabSz="2032163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67"/>
              </a:spcAft>
              <a:buClr>
                <a:srgbClr val="54596A"/>
              </a:buClr>
              <a:buSzPct val="100000"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116631" indent="-159645" algn="l" defTabSz="914473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67"/>
              </a:spcAft>
              <a:buClr>
                <a:srgbClr val="54596A"/>
              </a:buClr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428864" indent="-158763" algn="l" defTabSz="914473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67"/>
              </a:spcAft>
              <a:buClr>
                <a:srgbClr val="54596A"/>
              </a:buClr>
              <a:buSzPct val="100000"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801" indent="-228618" algn="l" defTabSz="91447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038" indent="-228618" algn="l" defTabSz="91447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274" indent="-228618" algn="l" defTabSz="91447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511" indent="-228618" algn="l" defTabSz="91447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57091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899593E2-5436-2B43-A41A-908C8F7784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64235" y="3458405"/>
            <a:ext cx="1488440" cy="148844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8758"/>
            <a:ext cx="5759461" cy="1098682"/>
          </a:xfrm>
        </p:spPr>
        <p:txBody>
          <a:bodyPr>
            <a:normAutofit/>
          </a:bodyPr>
          <a:lstStyle/>
          <a:p>
            <a:pPr marL="254000"/>
            <a:r>
              <a:rPr lang="en-US">
                <a:latin typeface="Roboto Light"/>
                <a:ea typeface="Roboto Light"/>
                <a:cs typeface="Arial"/>
              </a:rPr>
              <a:t>Why our evaluation?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type="body" sz="quarter" idx="10"/>
          </p:nvPr>
        </p:nvSpPr>
        <p:spPr>
          <a:xfrm>
            <a:off x="568236" y="2279937"/>
            <a:ext cx="2252869" cy="1107440"/>
          </a:xfrm>
        </p:spPr>
        <p:txBody>
          <a:bodyPr>
            <a:noAutofit/>
          </a:bodyPr>
          <a:lstStyle/>
          <a:p>
            <a:pPr marL="0" indent="0" algn="ctr">
              <a:lnSpc>
                <a:spcPts val="2600"/>
              </a:lnSpc>
              <a:buNone/>
            </a:pPr>
            <a:r>
              <a:rPr lang="en-US" sz="2400" dirty="0"/>
              <a:t>Superior visibility</a:t>
            </a:r>
            <a:r>
              <a:rPr lang="en-US" sz="2400" baseline="30000" dirty="0"/>
              <a:t>*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51E68231-2949-B447-9677-299F083A3CB3}"/>
              </a:ext>
            </a:extLst>
          </p:cNvPr>
          <p:cNvSpPr txBox="1">
            <a:spLocks/>
          </p:cNvSpPr>
          <p:nvPr/>
        </p:nvSpPr>
        <p:spPr>
          <a:xfrm>
            <a:off x="3494129" y="5017873"/>
            <a:ext cx="2055707" cy="659605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182880" indent="-182880" algn="l" defTabSz="685800" rtl="0" eaLnBrk="1" latinLnBrk="0" hangingPunct="1">
              <a:lnSpc>
                <a:spcPts val="2600"/>
              </a:lnSpc>
              <a:spcBef>
                <a:spcPts val="1000"/>
              </a:spcBef>
              <a:buClr>
                <a:srgbClr val="23A3DD"/>
              </a:buClr>
              <a:buFont typeface="Arial" panose="020B0604020202020204" pitchFamily="34" charset="0"/>
              <a:buChar char="•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1pPr>
            <a:lvl2pPr marL="402336" indent="-18288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23A3DD"/>
              </a:buClr>
              <a:buSzPct val="70000"/>
              <a:buFont typeface="System Font Regular"/>
              <a:buChar char="–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2000" b="0" i="0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/>
              <a:t>Insights from</a:t>
            </a:r>
            <a:br>
              <a:rPr lang="en-US" dirty="0"/>
            </a:br>
            <a:r>
              <a:rPr lang="en-US" dirty="0"/>
              <a:t>experts</a:t>
            </a:r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C13E3A48-FB5C-9147-A9C2-A625D067CBDD}"/>
              </a:ext>
            </a:extLst>
          </p:cNvPr>
          <p:cNvSpPr txBox="1">
            <a:spLocks/>
          </p:cNvSpPr>
          <p:nvPr/>
        </p:nvSpPr>
        <p:spPr>
          <a:xfrm>
            <a:off x="3044931" y="2402828"/>
            <a:ext cx="2899517" cy="984549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182880" indent="-182880" algn="l" defTabSz="685800" rtl="0" eaLnBrk="1" latinLnBrk="0" hangingPunct="1">
              <a:lnSpc>
                <a:spcPts val="2600"/>
              </a:lnSpc>
              <a:spcBef>
                <a:spcPts val="1000"/>
              </a:spcBef>
              <a:buClr>
                <a:srgbClr val="23A3DD"/>
              </a:buClr>
              <a:buFont typeface="Arial" panose="020B0604020202020204" pitchFamily="34" charset="0"/>
              <a:buChar char="•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1pPr>
            <a:lvl2pPr marL="402336" indent="-18288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23A3DD"/>
              </a:buClr>
              <a:buSzPct val="70000"/>
              <a:buFont typeface="System Font Regular"/>
              <a:buChar char="–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2000" b="0" i="0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/>
              <a:t>Additional insights &amp; opportunity</a:t>
            </a:r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0917DCB4-B796-614C-9E3F-0D269CEA3837}"/>
              </a:ext>
            </a:extLst>
          </p:cNvPr>
          <p:cNvSpPr txBox="1">
            <a:spLocks/>
          </p:cNvSpPr>
          <p:nvPr/>
        </p:nvSpPr>
        <p:spPr>
          <a:xfrm>
            <a:off x="5927165" y="2402828"/>
            <a:ext cx="2252869" cy="984549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182880" indent="-182880" algn="l" defTabSz="685800" rtl="0" eaLnBrk="1" latinLnBrk="0" hangingPunct="1">
              <a:lnSpc>
                <a:spcPts val="2600"/>
              </a:lnSpc>
              <a:spcBef>
                <a:spcPts val="1000"/>
              </a:spcBef>
              <a:buClr>
                <a:srgbClr val="23A3DD"/>
              </a:buClr>
              <a:buFont typeface="Arial" panose="020B0604020202020204" pitchFamily="34" charset="0"/>
              <a:buChar char="•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1pPr>
            <a:lvl2pPr marL="402336" indent="-18288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23A3DD"/>
              </a:buClr>
              <a:buSzPct val="70000"/>
              <a:buFont typeface="System Font Regular"/>
              <a:buChar char="–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2000" b="0" i="0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/>
              <a:t>Deployment flexibility</a:t>
            </a: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13DA79B3-35F9-CB47-9707-04DF06A2F60B}"/>
              </a:ext>
            </a:extLst>
          </p:cNvPr>
          <p:cNvSpPr txBox="1">
            <a:spLocks/>
          </p:cNvSpPr>
          <p:nvPr/>
        </p:nvSpPr>
        <p:spPr>
          <a:xfrm>
            <a:off x="143611" y="5024433"/>
            <a:ext cx="3268877" cy="876529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182880" indent="-182880" algn="l" defTabSz="685800" rtl="0" eaLnBrk="1" latinLnBrk="0" hangingPunct="1">
              <a:lnSpc>
                <a:spcPts val="2600"/>
              </a:lnSpc>
              <a:spcBef>
                <a:spcPts val="1000"/>
              </a:spcBef>
              <a:buClr>
                <a:srgbClr val="23A3DD"/>
              </a:buClr>
              <a:buFont typeface="Arial" panose="020B0604020202020204" pitchFamily="34" charset="0"/>
              <a:buChar char="•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1pPr>
            <a:lvl2pPr marL="402336" indent="-18288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23A3DD"/>
              </a:buClr>
              <a:buSzPct val="70000"/>
              <a:buFont typeface="System Font Regular"/>
              <a:buChar char="–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2000" b="0" i="0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/>
              <a:t>Actionable</a:t>
            </a:r>
            <a:br>
              <a:rPr lang="en-US" dirty="0"/>
            </a:br>
            <a:r>
              <a:rPr lang="en-US" dirty="0"/>
              <a:t>recommendations</a:t>
            </a:r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E9DD0D92-CBB8-9941-A2C1-0AD9926AE81D}"/>
              </a:ext>
            </a:extLst>
          </p:cNvPr>
          <p:cNvSpPr txBox="1">
            <a:spLocks/>
          </p:cNvSpPr>
          <p:nvPr/>
        </p:nvSpPr>
        <p:spPr>
          <a:xfrm>
            <a:off x="5475679" y="5026397"/>
            <a:ext cx="3589127" cy="598488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182880" indent="-182880" algn="l" defTabSz="685800" rtl="0" eaLnBrk="1" latinLnBrk="0" hangingPunct="1">
              <a:lnSpc>
                <a:spcPts val="2600"/>
              </a:lnSpc>
              <a:spcBef>
                <a:spcPts val="1000"/>
              </a:spcBef>
              <a:buClr>
                <a:srgbClr val="23A3DD"/>
              </a:buClr>
              <a:buFont typeface="Arial" panose="020B0604020202020204" pitchFamily="34" charset="0"/>
              <a:buChar char="•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1pPr>
            <a:lvl2pPr marL="402336" indent="-18288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23A3DD"/>
              </a:buClr>
              <a:buSzPct val="70000"/>
              <a:buFont typeface="System Font Regular"/>
              <a:buChar char="–"/>
              <a:defRPr sz="24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2000" b="0" i="0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/>
              <a:t>Personal &amp;</a:t>
            </a:r>
            <a:br>
              <a:rPr lang="en-US" dirty="0"/>
            </a:br>
            <a:r>
              <a:rPr lang="en-US" dirty="0"/>
              <a:t>courteous approach</a:t>
            </a:r>
          </a:p>
        </p:txBody>
      </p:sp>
      <p:pic>
        <p:nvPicPr>
          <p:cNvPr id="10" name="Picture 9" descr="Icon&#10;&#10;Description automatically generated">
            <a:extLst>
              <a:ext uri="{FF2B5EF4-FFF2-40B4-BE49-F238E27FC236}">
                <a16:creationId xmlns:a16="http://schemas.microsoft.com/office/drawing/2014/main" id="{E3EA3796-0559-A04D-B018-CD7DCD79FD2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1671" y="1038080"/>
            <a:ext cx="1653540" cy="1653540"/>
          </a:xfrm>
          <a:prstGeom prst="rect">
            <a:avLst/>
          </a:prstGeom>
        </p:spPr>
      </p:pic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1F9858E9-72F7-AB40-8C0B-AD88A8EDDBA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67920" y="852380"/>
            <a:ext cx="1653540" cy="1653540"/>
          </a:xfrm>
          <a:prstGeom prst="rect">
            <a:avLst/>
          </a:prstGeom>
        </p:spPr>
      </p:pic>
      <p:pic>
        <p:nvPicPr>
          <p:cNvPr id="14" name="Picture 13" descr="Icon&#10;&#10;Description automatically generated">
            <a:extLst>
              <a:ext uri="{FF2B5EF4-FFF2-40B4-BE49-F238E27FC236}">
                <a16:creationId xmlns:a16="http://schemas.microsoft.com/office/drawing/2014/main" id="{35AF990D-E38D-9644-B6E9-9C6D924DA76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35202" y="866926"/>
            <a:ext cx="1653540" cy="1653540"/>
          </a:xfrm>
          <a:prstGeom prst="rect">
            <a:avLst/>
          </a:prstGeom>
        </p:spPr>
      </p:pic>
      <p:pic>
        <p:nvPicPr>
          <p:cNvPr id="16" name="Picture 15" descr="Icon&#10;&#10;Description automatically generated">
            <a:extLst>
              <a:ext uri="{FF2B5EF4-FFF2-40B4-BE49-F238E27FC236}">
                <a16:creationId xmlns:a16="http://schemas.microsoft.com/office/drawing/2014/main" id="{019BBC43-5DAB-5D42-846A-5D6FE6D92C5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14173" y="3530696"/>
            <a:ext cx="1535430" cy="1535430"/>
          </a:xfrm>
          <a:prstGeom prst="rect">
            <a:avLst/>
          </a:prstGeom>
        </p:spPr>
      </p:pic>
      <p:pic>
        <p:nvPicPr>
          <p:cNvPr id="17" name="Picture 16" descr="Icon&#10;&#10;Description automatically generated">
            <a:extLst>
              <a:ext uri="{FF2B5EF4-FFF2-40B4-BE49-F238E27FC236}">
                <a16:creationId xmlns:a16="http://schemas.microsoft.com/office/drawing/2014/main" id="{C696FD0B-46C7-714F-A58E-878DD6999AF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12367" y="3413074"/>
            <a:ext cx="1452753" cy="1452753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5B326B54-3C9B-4C4C-9F81-FE70167B4BAD}"/>
              </a:ext>
            </a:extLst>
          </p:cNvPr>
          <p:cNvSpPr txBox="1"/>
          <p:nvPr/>
        </p:nvSpPr>
        <p:spPr>
          <a:xfrm>
            <a:off x="487420" y="6056623"/>
            <a:ext cx="8110046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67" dirty="0">
                <a:solidFill>
                  <a:schemeClr val="tx1">
                    <a:lumMod val="65000"/>
                    <a:lumOff val="3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* powered by content security and threat intelligence from FortiGuard Labs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FAE16EDB-30AB-8821-17BD-7C3B4FF1736C}"/>
              </a:ext>
            </a:extLst>
          </p:cNvPr>
          <p:cNvSpPr txBox="1">
            <a:spLocks/>
          </p:cNvSpPr>
          <p:nvPr/>
        </p:nvSpPr>
        <p:spPr>
          <a:xfrm>
            <a:off x="10136293" y="5839"/>
            <a:ext cx="2055707" cy="6858000"/>
          </a:xfrm>
          <a:prstGeom prst="rect">
            <a:avLst/>
          </a:prstGeom>
          <a:solidFill>
            <a:srgbClr val="007AC3"/>
          </a:solidFill>
        </p:spPr>
        <p:txBody>
          <a:bodyPr tIns="0" bIns="0" anchor="ctr"/>
          <a:lstStyle>
            <a:lvl1pPr marL="165113" indent="-152412" algn="ctr" defTabSz="91447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Oswald" pitchFamily="2" charset="0"/>
                <a:ea typeface="+mn-ea"/>
                <a:cs typeface="Arial" panose="020B0604020202020204" pitchFamily="34" charset="0"/>
              </a:defRPr>
            </a:lvl1pPr>
            <a:lvl2pPr marL="318408" indent="159645" algn="l" defTabSz="914473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67"/>
              </a:spcAft>
              <a:buClr>
                <a:srgbClr val="54596A"/>
              </a:buClr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766471" indent="-128774" algn="l" defTabSz="2032163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67"/>
              </a:spcAft>
              <a:buClr>
                <a:srgbClr val="54596A"/>
              </a:buClr>
              <a:buSzPct val="100000"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116631" indent="-159645" algn="l" defTabSz="914473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67"/>
              </a:spcAft>
              <a:buClr>
                <a:srgbClr val="54596A"/>
              </a:buClr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428864" indent="-158763" algn="l" defTabSz="914473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67"/>
              </a:spcAft>
              <a:buClr>
                <a:srgbClr val="54596A"/>
              </a:buClr>
              <a:buSzPct val="100000"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801" indent="-228618" algn="l" defTabSz="91447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038" indent="-228618" algn="l" defTabSz="91447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274" indent="-228618" algn="l" defTabSz="91447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511" indent="-228618" algn="l" defTabSz="914473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 </a:t>
            </a:r>
            <a:endParaRPr lang="en-US" dirty="0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AE29B37A-497C-3242-9EF2-8478F1721C2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6509" y="1331131"/>
            <a:ext cx="4141998" cy="4141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33811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5DC0682-095D-A240-BD54-7C2E730BA1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ecurity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336ACD6-C044-144D-BEB1-B28198FEA7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10106" y="894697"/>
            <a:ext cx="3778418" cy="3036171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sz="2400" dirty="0"/>
              <a:t>Can your security posture be improved?</a:t>
            </a:r>
          </a:p>
          <a:p>
            <a:pPr marL="228600" indent="-228600">
              <a:spcAft>
                <a:spcPts val="0"/>
              </a:spcAft>
            </a:pPr>
            <a:r>
              <a:rPr lang="en-US" sz="2400" dirty="0"/>
              <a:t>Application vulnerabilities</a:t>
            </a:r>
          </a:p>
          <a:p>
            <a:pPr marL="228600" indent="-228600">
              <a:spcAft>
                <a:spcPts val="0"/>
              </a:spcAft>
            </a:pPr>
            <a:r>
              <a:rPr lang="en-US" sz="2400" dirty="0"/>
              <a:t>Malware/botnet detection</a:t>
            </a:r>
          </a:p>
          <a:p>
            <a:pPr marL="228600" indent="-228600">
              <a:spcAft>
                <a:spcPts val="0"/>
              </a:spcAft>
            </a:pPr>
            <a:r>
              <a:rPr lang="en-US" sz="2400" dirty="0"/>
              <a:t>Identify risky application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22B9092-6477-A24E-9FF5-4732188DEA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02815" y="1145682"/>
            <a:ext cx="8179079" cy="4862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570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5DC0682-095D-A240-BD54-7C2E730BA1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Productivity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336ACD6-C044-144D-BEB1-B28198FEA7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10107" y="894697"/>
            <a:ext cx="4285828" cy="435151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/>
              <a:t>Are you making the best use of your network resources?</a:t>
            </a:r>
          </a:p>
          <a:p>
            <a:pPr marL="228600" indent="-228600">
              <a:spcAft>
                <a:spcPts val="0"/>
              </a:spcAft>
            </a:pPr>
            <a:r>
              <a:rPr lang="en-US" sz="2400" dirty="0"/>
              <a:t>Application categories and cloud usage</a:t>
            </a:r>
          </a:p>
          <a:p>
            <a:pPr marL="228600" indent="-228600">
              <a:spcAft>
                <a:spcPts val="0"/>
              </a:spcAft>
            </a:pPr>
            <a:r>
              <a:rPr lang="en-US" sz="2400" dirty="0"/>
              <a:t>Peer to peer, proxy app and remote access</a:t>
            </a:r>
          </a:p>
          <a:p>
            <a:pPr marL="228600" indent="-228600">
              <a:spcAft>
                <a:spcPts val="0"/>
              </a:spcAft>
            </a:pPr>
            <a:r>
              <a:rPr lang="en-US" sz="2400" dirty="0"/>
              <a:t>Web-based applications and browsing habit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A98CD9E-A696-4ED8-A5E2-A08C17C67A22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4230306" y="579990"/>
            <a:ext cx="6423706" cy="319376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</p:pic>
      <p:pic>
        <p:nvPicPr>
          <p:cNvPr id="10" name="Picture 9" descr="Chart&#10;&#10;Description automatically generated">
            <a:extLst>
              <a:ext uri="{FF2B5EF4-FFF2-40B4-BE49-F238E27FC236}">
                <a16:creationId xmlns:a16="http://schemas.microsoft.com/office/drawing/2014/main" id="{6AA0B267-3392-4244-9327-0ACECAAF24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70117" y="3924745"/>
            <a:ext cx="3580224" cy="2237640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</p:spPr>
      </p:pic>
      <p:pic>
        <p:nvPicPr>
          <p:cNvPr id="11" name="Picture 10" descr="Chart&#10;&#10;Description automatically generated with low confidence">
            <a:extLst>
              <a:ext uri="{FF2B5EF4-FFF2-40B4-BE49-F238E27FC236}">
                <a16:creationId xmlns:a16="http://schemas.microsoft.com/office/drawing/2014/main" id="{CCBC8BB4-80CC-4A4F-81E6-093DB5CAE2C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05090" y="3924745"/>
            <a:ext cx="3580224" cy="2237640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4094400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5DC0682-095D-A240-BD54-7C2E730BA1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Utilizatio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336ACD6-C044-144D-BEB1-B28198FEA7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10106" y="1178477"/>
            <a:ext cx="4377508" cy="435151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/>
              <a:t>Could your productivity be improved with some changes?</a:t>
            </a:r>
          </a:p>
          <a:p>
            <a:pPr marL="228600" indent="-228600">
              <a:spcAft>
                <a:spcPts val="0"/>
              </a:spcAft>
            </a:pPr>
            <a:r>
              <a:rPr lang="en-US" sz="2400" dirty="0"/>
              <a:t>Bandwidth analysis and top consumers</a:t>
            </a:r>
          </a:p>
          <a:p>
            <a:pPr marL="228600" indent="-228600">
              <a:spcAft>
                <a:spcPts val="0"/>
              </a:spcAft>
            </a:pPr>
            <a:r>
              <a:rPr lang="en-US" sz="2400" dirty="0"/>
              <a:t>Sizing information — average log rates/sessions</a:t>
            </a:r>
          </a:p>
          <a:p>
            <a:pPr marL="228600" indent="-228600">
              <a:spcAft>
                <a:spcPts val="0"/>
              </a:spcAft>
            </a:pPr>
            <a:r>
              <a:rPr lang="en-US" sz="2400" dirty="0"/>
              <a:t>FortiGate CPU and memory utilizat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3216697-F445-4DAB-87D7-FA1DBB95B314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4785693" y="656315"/>
            <a:ext cx="6675831" cy="124035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48C1310-77DB-4733-A644-DC6FBF5634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5692" y="2085955"/>
            <a:ext cx="6061023" cy="264150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7E5A6E1-09A0-45DE-944E-4A0744C333D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75284" y="3523609"/>
            <a:ext cx="5586240" cy="260605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2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62896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DESIGN_ID_TPX" val="G1AxbYE2"/>
  <p:tag name="ARTICULATE_DESIGN_ID_OFFICE THEME" val="aqoCmktk"/>
  <p:tag name="ARTICULATE_DESIGN_ID_MITEL POWERPOINT TEMPLATE (1)" val="WSGO6eCM"/>
  <p:tag name="ARTICULATE_DESIGN_ID_1_TPX" val="YhXcFerQ"/>
  <p:tag name="ARTICULATE_DESIGN_ID_THE EXP THEME" val="TOyimgr4"/>
  <p:tag name="ARTICULATE_DESIGN_ID_THEMED MARKETING LAYOUTS" val="WZ5vy4Gi"/>
  <p:tag name="ARTICULATE_DESIGN_ID_CUSTOM DESIGN" val="PgskQRO1"/>
  <p:tag name="ARTICULATE_DESIGN_ID_1_THE EXP THEME" val="H2uG2EEr"/>
  <p:tag name="ARTICULATE_DESIGN_ID_INTERACTION SLIDES" val="hOaaQKaR"/>
  <p:tag name="ARTICULATE_SLIDE_THUMBNAIL_REFRESH" val="1"/>
  <p:tag name="ARTICULATE_PROJECT_OPEN" val="0"/>
  <p:tag name="ARTICULATE_SLIDE_COUNT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B7lqxOnBa6ETgIbxwiC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B7lqxOnBa6ETgIbxwiC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B7lqxOnBa6ETgIbxwiC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B7lqxOnBa6ETgIbxwi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Cover Slides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C6D5E0"/>
      </a:lt2>
      <a:accent1>
        <a:srgbClr val="007AC2"/>
      </a:accent1>
      <a:accent2>
        <a:srgbClr val="03A0DB"/>
      </a:accent2>
      <a:accent3>
        <a:srgbClr val="21BFD3"/>
      </a:accent3>
      <a:accent4>
        <a:srgbClr val="045E94"/>
      </a:accent4>
      <a:accent5>
        <a:srgbClr val="6FBD59"/>
      </a:accent5>
      <a:accent6>
        <a:srgbClr val="A9D171"/>
      </a:accent6>
      <a:hlink>
        <a:srgbClr val="007BBF"/>
      </a:hlink>
      <a:folHlink>
        <a:srgbClr val="8C8C8C"/>
      </a:folHlink>
    </a:clrScheme>
    <a:fontScheme name="Roboto">
      <a:majorFont>
        <a:latin typeface="Roboto Condensed Light" panose="02020603050405020304"/>
        <a:ea typeface=""/>
        <a:cs typeface=""/>
      </a:majorFont>
      <a:minorFont>
        <a:latin typeface="Roboto Light" panose="020B0604020202020204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Px_Template.potx" id="{A33783DD-624E-3143-8D05-1DBC46CDDB55}" vid="{CB97DBEC-A039-1C4F-AC2F-10A107DBD301}"/>
    </a:ext>
  </a:extLst>
</a:theme>
</file>

<file path=ppt/theme/theme2.xml><?xml version="1.0" encoding="utf-8"?>
<a:theme xmlns:a="http://schemas.openxmlformats.org/drawingml/2006/main" name="Agenda / Table of Contents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C6D5E0"/>
      </a:lt2>
      <a:accent1>
        <a:srgbClr val="007AC2"/>
      </a:accent1>
      <a:accent2>
        <a:srgbClr val="03A0DB"/>
      </a:accent2>
      <a:accent3>
        <a:srgbClr val="21BFD3"/>
      </a:accent3>
      <a:accent4>
        <a:srgbClr val="045E94"/>
      </a:accent4>
      <a:accent5>
        <a:srgbClr val="6FBD59"/>
      </a:accent5>
      <a:accent6>
        <a:srgbClr val="A9D171"/>
      </a:accent6>
      <a:hlink>
        <a:srgbClr val="007BBF"/>
      </a:hlink>
      <a:folHlink>
        <a:srgbClr val="8C8C8C"/>
      </a:folHlink>
    </a:clrScheme>
    <a:fontScheme name="Roboto">
      <a:majorFont>
        <a:latin typeface="Roboto Condensed Light" panose="02020603050405020304"/>
        <a:ea typeface=""/>
        <a:cs typeface=""/>
      </a:majorFont>
      <a:minorFont>
        <a:latin typeface="Roboto Light" panose="020B0604020202020204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Px_Template.potx" id="{A33783DD-624E-3143-8D05-1DBC46CDDB55}" vid="{CB97DBEC-A039-1C4F-AC2F-10A107DBD301}"/>
    </a:ext>
  </a:extLst>
</a:theme>
</file>

<file path=ppt/theme/theme3.xml><?xml version="1.0" encoding="utf-8"?>
<a:theme xmlns:a="http://schemas.openxmlformats.org/drawingml/2006/main" name="Section Dividers">
  <a:themeElements>
    <a:clrScheme name="TPx Brand 1">
      <a:dk1>
        <a:sysClr val="windowText" lastClr="000000"/>
      </a:dk1>
      <a:lt1>
        <a:sysClr val="window" lastClr="FFFFFF"/>
      </a:lt1>
      <a:dk2>
        <a:srgbClr val="454551"/>
      </a:dk2>
      <a:lt2>
        <a:srgbClr val="E5F5FF"/>
      </a:lt2>
      <a:accent1>
        <a:srgbClr val="008EE6"/>
      </a:accent1>
      <a:accent2>
        <a:srgbClr val="007AC3"/>
      </a:accent2>
      <a:accent3>
        <a:srgbClr val="4FC777"/>
      </a:accent3>
      <a:accent4>
        <a:srgbClr val="6FC055"/>
      </a:accent4>
      <a:accent5>
        <a:srgbClr val="CA2065"/>
      </a:accent5>
      <a:accent6>
        <a:srgbClr val="96184A"/>
      </a:accent6>
      <a:hlink>
        <a:srgbClr val="08B892"/>
      </a:hlink>
      <a:folHlink>
        <a:srgbClr val="8C8C8C"/>
      </a:folHlink>
    </a:clrScheme>
    <a:fontScheme name="Roboto">
      <a:majorFont>
        <a:latin typeface="Roboto Condensed Light" panose="02020603050405020304"/>
        <a:ea typeface=""/>
        <a:cs typeface=""/>
      </a:majorFont>
      <a:minorFont>
        <a:latin typeface="Roboto Light" panose="020B0604020202020204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Px_Template.potx" id="{A33783DD-624E-3143-8D05-1DBC46CDDB55}" vid="{CB97DBEC-A039-1C4F-AC2F-10A107DBD301}"/>
    </a:ext>
  </a:extLst>
</a:theme>
</file>

<file path=ppt/theme/theme4.xml><?xml version="1.0" encoding="utf-8"?>
<a:theme xmlns:a="http://schemas.openxmlformats.org/drawingml/2006/main" name="Interior Slides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C6D5E0"/>
      </a:lt2>
      <a:accent1>
        <a:srgbClr val="007AC2"/>
      </a:accent1>
      <a:accent2>
        <a:srgbClr val="03A0DB"/>
      </a:accent2>
      <a:accent3>
        <a:srgbClr val="21BFD3"/>
      </a:accent3>
      <a:accent4>
        <a:srgbClr val="045E94"/>
      </a:accent4>
      <a:accent5>
        <a:srgbClr val="6FBD59"/>
      </a:accent5>
      <a:accent6>
        <a:srgbClr val="A9D171"/>
      </a:accent6>
      <a:hlink>
        <a:srgbClr val="007BBF"/>
      </a:hlink>
      <a:folHlink>
        <a:srgbClr val="8C8C8C"/>
      </a:folHlink>
    </a:clrScheme>
    <a:fontScheme name="Roboto">
      <a:majorFont>
        <a:latin typeface="Roboto Condensed Light" panose="02020603050405020304"/>
        <a:ea typeface=""/>
        <a:cs typeface=""/>
      </a:majorFont>
      <a:minorFont>
        <a:latin typeface="Roboto Light" panose="020B0604020202020204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Px_Template.potx" id="{A33783DD-624E-3143-8D05-1DBC46CDDB55}" vid="{CB97DBEC-A039-1C4F-AC2F-10A107DBD301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6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186FF442-84E4-42B8-832A-5DBE4CAB1DEC}">
  <we:reference id="wa104379997" version="2.0.0.0" store="en-001" storeType="OMEX"/>
  <we:alternateReferences>
    <we:reference id="WA104379997" version="2.0.0.0" store="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af47a63-e848-4293-897f-92283a34d037" xsi:nil="true"/>
    <_ip_UnifiedCompliancePolicyUIAction xmlns="http://schemas.microsoft.com/sharepoint/v3" xsi:nil="true"/>
    <lcf76f155ced4ddcb4097134ff3c332f xmlns="1af5a47c-0713-4e3a-a2b6-24346aceb14c">
      <Terms xmlns="http://schemas.microsoft.com/office/infopath/2007/PartnerControls"/>
    </lcf76f155ced4ddcb4097134ff3c332f>
    <_ip_UnifiedCompliancePolicyProperties xmlns="http://schemas.microsoft.com/sharepoint/v3" xsi:nil="true"/>
  </documentManagement>
</p:properties>
</file>

<file path=customXml/item3.xml><?xml version="1.0" encoding="utf-8"?>
<?mso-contentType ?>
<PolicyDirtyBag xmlns="microsoft.office.server.policy.changes">
  <Microsoft.Office.RecordsManagement.PolicyFeatures.PolicyAudit op="Delete"/>
</PolicyDirtyBag>
</file>

<file path=customXml/item4.xml><?xml version="1.0" encoding="utf-8"?>
<?mso-contentType ?>
<SharedContentType xmlns="Microsoft.SharePoint.Taxonomy.ContentTypeSync" SourceId="cbc9f59a-f8c8-4df8-bfaf-beb0fa068b59" ContentTypeId="0x010100E0A203F60024FB4CAD43CD2967EC1C06" PreviousValue="false"/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1005DC0A26A6D409DD06258794F8C97" ma:contentTypeVersion="18" ma:contentTypeDescription="Create a new document." ma:contentTypeScope="" ma:versionID="c90f7fa22e948da5767a033261e78eb3">
  <xsd:schema xmlns:xsd="http://www.w3.org/2001/XMLSchema" xmlns:xs="http://www.w3.org/2001/XMLSchema" xmlns:p="http://schemas.microsoft.com/office/2006/metadata/properties" xmlns:ns1="http://schemas.microsoft.com/sharepoint/v3" xmlns:ns2="1af5a47c-0713-4e3a-a2b6-24346aceb14c" xmlns:ns3="48890d66-84ea-42c4-81cd-054a79595e7a" xmlns:ns4="faf47a63-e848-4293-897f-92283a34d037" targetNamespace="http://schemas.microsoft.com/office/2006/metadata/properties" ma:root="true" ma:fieldsID="57c01980da1e77fc7496c53d81e3f5d2" ns1:_="" ns2:_="" ns3:_="" ns4:_="">
    <xsd:import namespace="http://schemas.microsoft.com/sharepoint/v3"/>
    <xsd:import namespace="1af5a47c-0713-4e3a-a2b6-24346aceb14c"/>
    <xsd:import namespace="48890d66-84ea-42c4-81cd-054a79595e7a"/>
    <xsd:import namespace="faf47a63-e848-4293-897f-92283a34d03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1:_ip_UnifiedCompliancePolicyProperties" minOccurs="0"/>
                <xsd:element ref="ns1:_ip_UnifiedCompliancePolicyUIAction" minOccurs="0"/>
                <xsd:element ref="ns2:lcf76f155ced4ddcb4097134ff3c332f" minOccurs="0"/>
                <xsd:element ref="ns4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f5a47c-0713-4e3a-a2b6-24346aceb14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cbc9f59a-f8c8-4df8-bfaf-beb0fa068b5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890d66-84ea-42c4-81cd-054a79595e7a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f47a63-e848-4293-897f-92283a34d037" elementFormDefault="qualified">
    <xsd:import namespace="http://schemas.microsoft.com/office/2006/documentManagement/types"/>
    <xsd:import namespace="http://schemas.microsoft.com/office/infopath/2007/PartnerControls"/>
    <xsd:element name="TaxCatchAll" ma:index="24" nillable="true" ma:displayName="Taxonomy Catch All Column" ma:hidden="true" ma:list="{39b2d8a3-5fc0-47bb-996c-832e9bfa6b68}" ma:internalName="TaxCatchAll" ma:showField="CatchAllData" ma:web="48890d66-84ea-42c4-81cd-054a79595e7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7D37507-E7D6-44CF-8184-D1E05A9DFAA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2101353-B90F-4B83-B7BE-3C869D945E05}">
  <ds:schemaRefs>
    <ds:schemaRef ds:uri="http://www.w3.org/XML/1998/namespace"/>
    <ds:schemaRef ds:uri="http://purl.org/dc/elements/1.1/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http://schemas.microsoft.com/office/2006/documentManagement/types"/>
    <ds:schemaRef ds:uri="faf47a63-e848-4293-897f-92283a34d037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BE851CAF-91C0-4BA1-89E7-F54DC8F41704}">
  <ds:schemaRefs>
    <ds:schemaRef ds:uri="microsoft.office.server.policy.changes"/>
  </ds:schemaRefs>
</ds:datastoreItem>
</file>

<file path=customXml/itemProps4.xml><?xml version="1.0" encoding="utf-8"?>
<ds:datastoreItem xmlns:ds="http://schemas.openxmlformats.org/officeDocument/2006/customXml" ds:itemID="{1F82A5E0-3985-4F85-A8F5-2411C03A6190}">
  <ds:schemaRefs>
    <ds:schemaRef ds:uri="Microsoft.SharePoint.Taxonomy.ContentTypeSync"/>
  </ds:schemaRefs>
</ds:datastoreItem>
</file>

<file path=customXml/itemProps5.xml><?xml version="1.0" encoding="utf-8"?>
<ds:datastoreItem xmlns:ds="http://schemas.openxmlformats.org/officeDocument/2006/customXml" ds:itemID="{0255BED9-FCEB-4107-92BE-0692E7BA3077}"/>
</file>

<file path=docMetadata/LabelInfo.xml><?xml version="1.0" encoding="utf-8"?>
<clbl:labelList xmlns:clbl="http://schemas.microsoft.com/office/2020/mipLabelMetadata">
  <clbl:label id="{999ee356-f756-4ae0-a94c-7d9428c681ea}" enabled="1" method="Standard" siteId="{2565b39e-8061-4c29-983e-8fea64680474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639</TotalTime>
  <Words>270</Words>
  <Application>Microsoft Office PowerPoint</Application>
  <PresentationFormat>Widescreen</PresentationFormat>
  <Paragraphs>56</Paragraphs>
  <Slides>9</Slides>
  <Notes>7</Notes>
  <HiddenSlides>0</HiddenSlides>
  <MMClips>0</MMClips>
  <ScaleCrop>false</ScaleCrop>
  <HeadingPairs>
    <vt:vector size="4" baseType="variant">
      <vt:variant>
        <vt:lpstr>Theme</vt:lpstr>
      </vt:variant>
      <vt:variant>
        <vt:i4>4</vt:i4>
      </vt:variant>
      <vt:variant>
        <vt:lpstr>Slide Titles</vt:lpstr>
      </vt:variant>
      <vt:variant>
        <vt:i4>9</vt:i4>
      </vt:variant>
    </vt:vector>
  </HeadingPairs>
  <TitlesOfParts>
    <vt:vector size="13" baseType="lpstr">
      <vt:lpstr>Cover Slides</vt:lpstr>
      <vt:lpstr>Agenda / Table of Contents</vt:lpstr>
      <vt:lpstr>Section Dividers</vt:lpstr>
      <vt:lpstr>Interior Slides</vt:lpstr>
      <vt:lpstr>Network Security Evaluation</vt:lpstr>
      <vt:lpstr>Agenda</vt:lpstr>
      <vt:lpstr> Network Security Evaluation </vt:lpstr>
      <vt:lpstr>Benefits</vt:lpstr>
      <vt:lpstr>How it works</vt:lpstr>
      <vt:lpstr>Why our evaluation?</vt:lpstr>
      <vt:lpstr>Security</vt:lpstr>
      <vt:lpstr>Productivity</vt:lpstr>
      <vt:lpstr>Utiliz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TAP customer presentation</dc:title>
  <dc:creator>Michael Lambert;David Wald</dc:creator>
  <cp:lastModifiedBy>Lucie Hys</cp:lastModifiedBy>
  <cp:revision>127</cp:revision>
  <dcterms:created xsi:type="dcterms:W3CDTF">2021-03-09T15:06:16Z</dcterms:created>
  <dcterms:modified xsi:type="dcterms:W3CDTF">2023-10-16T20:27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C1C5AB2C-2225-4B87-8DEC-92011847F696</vt:lpwstr>
  </property>
  <property fmtid="{D5CDD505-2E9C-101B-9397-08002B2CF9AE}" pid="3" name="ArticulatePath">
    <vt:lpwstr>TPxpert Methodology For CD Update R4(3)</vt:lpwstr>
  </property>
  <property fmtid="{D5CDD505-2E9C-101B-9397-08002B2CF9AE}" pid="4" name="ContentTypeId">
    <vt:lpwstr>0x01010071005DC0A26A6D409DD06258794F8C97</vt:lpwstr>
  </property>
  <property fmtid="{D5CDD505-2E9C-101B-9397-08002B2CF9AE}" pid="5" name="MediaServiceImageTags">
    <vt:lpwstr/>
  </property>
  <property fmtid="{D5CDD505-2E9C-101B-9397-08002B2CF9AE}" pid="6" name="lcf76f155ced4ddcb4097134ff3c332f">
    <vt:lpwstr/>
  </property>
  <property fmtid="{D5CDD505-2E9C-101B-9397-08002B2CF9AE}" pid="7" name="Service1">
    <vt:lpwstr/>
  </property>
  <property fmtid="{D5CDD505-2E9C-101B-9397-08002B2CF9AE}" pid="8" name="Document Type">
    <vt:lpwstr/>
  </property>
  <property fmtid="{D5CDD505-2E9C-101B-9397-08002B2CF9AE}" pid="9" name="Channel">
    <vt:lpwstr/>
  </property>
</Properties>
</file>